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1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2.xml" ContentType="application/vnd.openxmlformats-officedocument.presentationml.tags+xml"/>
  <Override PartName="/ppt/tags/tag33.xml" ContentType="application/vnd.openxmlformats-officedocument.presentationml.tags+xml"/>
  <Override PartName="/ppt/tags/tag40.xml" ContentType="application/vnd.openxmlformats-officedocument.presentationml.tags+xml"/>
  <Override PartName="/ppt/tags/tag35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6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34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7.xml" ContentType="application/vnd.openxmlformats-officedocument.presentationml.tags+xml"/>
  <Override PartName="/ppt/tags/tag20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37.xml" ContentType="application/vnd.openxmlformats-officedocument.presentationml.tags+xml"/>
  <Override PartName="/ppt/tags/tag10.xml" ContentType="application/vnd.openxmlformats-officedocument.presentationml.tags+xml"/>
  <Override PartName="/ppt/tags/tag38.xml" ContentType="application/vnd.openxmlformats-officedocument.presentationml.tags+xml"/>
  <Override PartName="/ppt/tags/tag11.xml" ContentType="application/vnd.openxmlformats-officedocument.presentationml.tags+xml"/>
  <Override PartName="/ppt/tags/tag39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30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36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91" r:id="rId3"/>
    <p:sldMasterId id="2147483713" r:id="rId4"/>
    <p:sldMasterId id="2147483729" r:id="rId5"/>
  </p:sldMasterIdLst>
  <p:notesMasterIdLst>
    <p:notesMasterId r:id="rId58"/>
  </p:notesMasterIdLst>
  <p:sldIdLst>
    <p:sldId id="524" r:id="rId6"/>
    <p:sldId id="640" r:id="rId7"/>
    <p:sldId id="639" r:id="rId8"/>
    <p:sldId id="641" r:id="rId9"/>
    <p:sldId id="642" r:id="rId10"/>
    <p:sldId id="528" r:id="rId11"/>
    <p:sldId id="606" r:id="rId12"/>
    <p:sldId id="607" r:id="rId13"/>
    <p:sldId id="608" r:id="rId14"/>
    <p:sldId id="609" r:id="rId15"/>
    <p:sldId id="610" r:id="rId16"/>
    <p:sldId id="611" r:id="rId17"/>
    <p:sldId id="621" r:id="rId18"/>
    <p:sldId id="623" r:id="rId19"/>
    <p:sldId id="624" r:id="rId20"/>
    <p:sldId id="625" r:id="rId21"/>
    <p:sldId id="626" r:id="rId22"/>
    <p:sldId id="627" r:id="rId23"/>
    <p:sldId id="628" r:id="rId24"/>
    <p:sldId id="629" r:id="rId25"/>
    <p:sldId id="630" r:id="rId26"/>
    <p:sldId id="633" r:id="rId27"/>
    <p:sldId id="631" r:id="rId28"/>
    <p:sldId id="632" r:id="rId29"/>
    <p:sldId id="634" r:id="rId30"/>
    <p:sldId id="635" r:id="rId31"/>
    <p:sldId id="598" r:id="rId32"/>
    <p:sldId id="581" r:id="rId33"/>
    <p:sldId id="585" r:id="rId34"/>
    <p:sldId id="592" r:id="rId35"/>
    <p:sldId id="586" r:id="rId36"/>
    <p:sldId id="587" r:id="rId37"/>
    <p:sldId id="593" r:id="rId38"/>
    <p:sldId id="594" r:id="rId39"/>
    <p:sldId id="595" r:id="rId40"/>
    <p:sldId id="596" r:id="rId41"/>
    <p:sldId id="597" r:id="rId42"/>
    <p:sldId id="612" r:id="rId43"/>
    <p:sldId id="638" r:id="rId44"/>
    <p:sldId id="572" r:id="rId45"/>
    <p:sldId id="582" r:id="rId46"/>
    <p:sldId id="599" r:id="rId47"/>
    <p:sldId id="600" r:id="rId48"/>
    <p:sldId id="601" r:id="rId49"/>
    <p:sldId id="602" r:id="rId50"/>
    <p:sldId id="603" r:id="rId51"/>
    <p:sldId id="604" r:id="rId52"/>
    <p:sldId id="605" r:id="rId53"/>
    <p:sldId id="583" r:id="rId54"/>
    <p:sldId id="613" r:id="rId55"/>
    <p:sldId id="614" r:id="rId56"/>
    <p:sldId id="615" r:id="rId57"/>
  </p:sldIdLst>
  <p:sldSz cx="9144000" cy="6858000" type="screen4x3"/>
  <p:notesSz cx="7053263" cy="9309100"/>
  <p:defaultTextStyle>
    <a:defPPr>
      <a:defRPr lang="en-US"/>
    </a:defPPr>
    <a:lvl1pPr marL="0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08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12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20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25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32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37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044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050" algn="l" defTabSz="91401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900"/>
    <a:srgbClr val="FF8E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7" autoAdjust="0"/>
    <p:restoredTop sz="80479" autoAdjust="0"/>
  </p:normalViewPr>
  <p:slideViewPr>
    <p:cSldViewPr snapToObjects="1">
      <p:cViewPr varScale="1">
        <p:scale>
          <a:sx n="67" d="100"/>
          <a:sy n="67" d="100"/>
        </p:scale>
        <p:origin x="715" y="38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-121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customXml" Target="../customXml/item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theme" Target="theme/theme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customXml" Target="../customXml/item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65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E4D2D20F-53A5-490A-837A-4430713C8CF5}" type="datetimeFigureOut">
              <a:rPr lang="en-US" smtClean="0"/>
              <a:pPr/>
              <a:t>7/20/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72E2663B-E387-443C-B665-17502BB33C5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0252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08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1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2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25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3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37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44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5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We begin our examination of the processor with an overview of the arithmetic and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logic unit (ALU). The chapter then focuses on the most complex aspect of the ALU,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computer arithmetic. </a:t>
            </a: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E2663B-E387-443C-B665-17502BB33C5B}" type="slidenum">
              <a:rPr lang="en-IN" smtClean="0"/>
              <a:pPr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93321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The ALU is that part of the computer that actually performs arithmetic and logical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operations on data. All of the other elements of the computer system—control unit,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registers, memory, I/O—are there mainly to bring data into the ALU for it to process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and then to take the results back out. We have, in a sense, reached the core or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essence of a computer when we consider the ALU.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E2663B-E387-443C-B665-17502BB33C5B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3635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Figure 9.1 indicates, in general terms, how the ALU is interconnected with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the rest of the processor. Operands for arithmetic and logic operations are presented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to the ALU in registers, and the results of an operation are stored in registers.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These registers are temporary storage locations within the processor that are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connected by signal paths to the ALU . The ALU may also set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flags as the result of an operation. For example, an overflow flag is set to 1 if the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result of a computation exceeds the length of the register into which it is to be stored.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The flag values are also stored in registers within the processor. The processor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provides signals that control the operation of the ALU and the movement of the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data into and out of the ALU.</a:t>
            </a:r>
          </a:p>
          <a:p>
            <a:endParaRPr lang="en-US" sz="1200" kern="1200" baseline="0" dirty="0">
              <a:solidFill>
                <a:schemeClr val="tx1"/>
              </a:solidFill>
              <a:latin typeface="Times New Roman" pitchFamily="-110" charset="0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The flag values are also stored in registers within the processor. The processor provides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signals that control the operation of the ALU and the movement of the data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into and out of the ALU.</a:t>
            </a:r>
            <a:endParaRPr lang="en-GB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E2663B-E387-443C-B665-17502BB33C5B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9404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In the binary number system, arbitrary numbers can be represented with just the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digits zero and one, the minus sign (for negative numbers), and the period, or </a:t>
            </a:r>
            <a:r>
              <a:rPr lang="en-US" sz="1200" b="1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radix</a:t>
            </a:r>
          </a:p>
          <a:p>
            <a:r>
              <a:rPr lang="en-US" sz="1200" b="1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point </a:t>
            </a:r>
            <a:r>
              <a:rPr lang="en-US" sz="1200" b="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(for numbers with a fractional component).</a:t>
            </a:r>
            <a:endParaRPr lang="en-GB" sz="1200" b="0" kern="1200" baseline="0" dirty="0">
              <a:solidFill>
                <a:schemeClr val="tx1"/>
              </a:solidFill>
              <a:latin typeface="Times New Roman" pitchFamily="-110" charset="0"/>
              <a:ea typeface="+mn-ea"/>
              <a:cs typeface="+mn-cs"/>
            </a:endParaRPr>
          </a:p>
          <a:p>
            <a:endParaRPr lang="en-GB" sz="1200" b="0" kern="1200" baseline="0" dirty="0">
              <a:solidFill>
                <a:schemeClr val="tx1"/>
              </a:solidFill>
              <a:latin typeface="Times New Roman" pitchFamily="-110" charset="0"/>
              <a:ea typeface="+mn-ea"/>
              <a:cs typeface="+mn-cs"/>
            </a:endParaRP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For purposes of computer storage and processing, however, we do not have the benefit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of special symbols for the minus sign and radix point. Only binary digits (0 and 1)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may be used to represent numbers. If we are limited to nonnegative integers, the</a:t>
            </a:r>
          </a:p>
          <a:p>
            <a:r>
              <a:rPr lang="en-US" sz="1200" kern="1200" baseline="0" dirty="0">
                <a:solidFill>
                  <a:schemeClr val="tx1"/>
                </a:solidFill>
                <a:latin typeface="Times New Roman" pitchFamily="-110" charset="0"/>
                <a:ea typeface="+mn-ea"/>
                <a:cs typeface="+mn-cs"/>
              </a:rPr>
              <a:t>representation is straightforward.</a:t>
            </a:r>
            <a:endParaRPr lang="en-GB" b="0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E2663B-E387-443C-B665-17502BB33C5B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1377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2.png"/><Relationship Id="rId4" Type="http://schemas.openxmlformats.org/officeDocument/2006/relationships/tags" Target="../tags/tag12.xml"/><Relationship Id="rId9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3.xml"/><Relationship Id="rId7" Type="http://schemas.openxmlformats.org/officeDocument/2006/relationships/image" Target="../media/image8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.png"/><Relationship Id="rId4" Type="http://schemas.openxmlformats.org/officeDocument/2006/relationships/tags" Target="../tags/tag24.xml"/><Relationship Id="rId9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2.png"/><Relationship Id="rId4" Type="http://schemas.openxmlformats.org/officeDocument/2006/relationships/tags" Target="../tags/tag36.xml"/><Relationship Id="rId9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47.xml"/><Relationship Id="rId7" Type="http://schemas.openxmlformats.org/officeDocument/2006/relationships/image" Target="../media/image8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2.png"/><Relationship Id="rId4" Type="http://schemas.openxmlformats.org/officeDocument/2006/relationships/tags" Target="../tags/tag48.xml"/><Relationship Id="rId9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352800"/>
            <a:ext cx="8686800" cy="2743200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 anchorCtr="0"/>
          <a:lstStyle/>
          <a:p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895603" y="609600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" y="609600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791200" y="609600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6" name="Picture 25" descr="BITS_university_logo_whitevert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6200" y="3352804"/>
            <a:ext cx="2057400" cy="1980000"/>
          </a:xfrm>
          <a:prstGeom prst="rect">
            <a:avLst/>
          </a:prstGeom>
        </p:spPr>
      </p:pic>
      <p:sp>
        <p:nvSpPr>
          <p:cNvPr id="30" name="TextBox 29"/>
          <p:cNvSpPr txBox="1"/>
          <p:nvPr userDrawn="1"/>
        </p:nvSpPr>
        <p:spPr>
          <a:xfrm>
            <a:off x="-76200" y="5257803"/>
            <a:ext cx="2209800" cy="54765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/>
            <a:r>
              <a:rPr lang="en-US" sz="2900" b="1" spc="-150" dirty="0">
                <a:solidFill>
                  <a:prstClr val="white"/>
                </a:solidFill>
                <a:latin typeface="Arial"/>
                <a:cs typeface="Arial"/>
              </a:rPr>
              <a:t>BITS</a:t>
            </a:r>
            <a:r>
              <a:rPr lang="en-US" sz="2900" spc="-150" dirty="0">
                <a:solidFill>
                  <a:prstClr val="white"/>
                </a:solidFill>
                <a:latin typeface="Arial"/>
                <a:cs typeface="Arial"/>
              </a:rPr>
              <a:t> Pilani</a:t>
            </a:r>
          </a:p>
        </p:txBody>
      </p:sp>
      <p:sp>
        <p:nvSpPr>
          <p:cNvPr id="1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514604" y="3810004"/>
            <a:ext cx="6019800" cy="1524000"/>
          </a:xfrm>
        </p:spPr>
        <p:txBody>
          <a:bodyPr anchor="ctr" anchorCtr="0">
            <a:noAutofit/>
          </a:bodyPr>
          <a:lstStyle>
            <a:lvl1pPr algn="l">
              <a:lnSpc>
                <a:spcPts val="4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enter the presentation title he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5"/>
            <a:ext cx="5111750" cy="45259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600205"/>
            <a:ext cx="3008313" cy="45259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8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10" name="Rectangle 9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13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5" name="Rectangle 14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8" name="Picture 17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407025"/>
            <a:ext cx="5486400" cy="304800"/>
          </a:xfrm>
        </p:spPr>
        <p:txBody>
          <a:bodyPr anchor="b">
            <a:normAutofit/>
          </a:bodyPr>
          <a:lstStyle>
            <a:lvl1pPr algn="l">
              <a:defRPr sz="1800" b="1" spc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828799"/>
            <a:ext cx="5486400" cy="3429001"/>
          </a:xfrm>
          <a:ln w="571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711825"/>
            <a:ext cx="5486400" cy="304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7" name="Rectangle 6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Group 10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2" name="Rectangle 11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19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21" name="Rectangle 20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Group 24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26" name="Rectangle 25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9" name="Picture 28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31" name="TextBox 30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9204" y="38100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18"/>
          <p:cNvSpPr>
            <a:spLocks noGrp="1"/>
          </p:cNvSpPr>
          <p:nvPr>
            <p:ph sz="quarter" idx="10" hasCustomPrompt="1"/>
          </p:nvPr>
        </p:nvSpPr>
        <p:spPr>
          <a:xfrm rot="5400000">
            <a:off x="5410204" y="2743200"/>
            <a:ext cx="58674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7"/>
          <p:cNvGrpSpPr/>
          <p:nvPr userDrawn="1"/>
        </p:nvGrpSpPr>
        <p:grpSpPr>
          <a:xfrm rot="5400000">
            <a:off x="5006340" y="2567944"/>
            <a:ext cx="5181600" cy="45719"/>
            <a:chOff x="1905000" y="6553200"/>
            <a:chExt cx="7010400" cy="45719"/>
          </a:xfrm>
        </p:grpSpPr>
        <p:sp>
          <p:nvSpPr>
            <p:cNvPr id="9" name="Rectangle 8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7" name="Picture 16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 rot="5400000">
            <a:off x="-758715" y="1131252"/>
            <a:ext cx="2193193" cy="692697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 rot="5400000">
            <a:off x="-2794424" y="3807478"/>
            <a:ext cx="5867400" cy="233652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9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9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 userDrawn="1"/>
        </p:nvSpPr>
        <p:spPr>
          <a:xfrm>
            <a:off x="0" y="4281488"/>
            <a:ext cx="9144000" cy="257651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8" descr="Picture 7.png"/>
          <p:cNvPicPr>
            <a:picLocks noChangeAspect="1"/>
          </p:cNvPicPr>
          <p:nvPr userDrawn="1"/>
        </p:nvPicPr>
        <p:blipFill>
          <a:blip r:embed="rId3"/>
          <a:srcRect l="1923" b="5336"/>
          <a:stretch>
            <a:fillRect/>
          </a:stretch>
        </p:blipFill>
        <p:spPr bwMode="auto">
          <a:xfrm>
            <a:off x="6629400" y="0"/>
            <a:ext cx="219392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2882900" y="677545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12700" y="677545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778500" y="677545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858000" y="762000"/>
            <a:ext cx="2209800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900" b="1" spc="-150" dirty="0">
                <a:solidFill>
                  <a:srgbClr val="FFFFFF"/>
                </a:solidFill>
                <a:latin typeface="+mn-lt"/>
                <a:cs typeface="Arial"/>
              </a:rPr>
              <a:t>BITS</a:t>
            </a:r>
            <a:r>
              <a:rPr lang="en-US" sz="2900" spc="-150" dirty="0">
                <a:solidFill>
                  <a:srgbClr val="FFFFFF"/>
                </a:solidFill>
                <a:latin typeface="+mn-lt"/>
                <a:cs typeface="Arial"/>
              </a:rPr>
              <a:t> Pilani</a:t>
            </a: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7086600" y="1171575"/>
            <a:ext cx="1905000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>
                <a:solidFill>
                  <a:srgbClr val="FFFFFF"/>
                </a:solidFill>
                <a:cs typeface="Arial" charset="0"/>
              </a:rPr>
              <a:t>Pilani Campu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0"/>
          </p:nvPr>
        </p:nvSpPr>
        <p:spPr>
          <a:xfrm>
            <a:off x="304800" y="4648200"/>
            <a:ext cx="8458200" cy="16002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4C6C658E-76A0-49DC-842D-6BAA93253E8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6328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7772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4114800"/>
            <a:ext cx="77724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3B08C3BD-7C5D-4FDC-B1A6-06A69244EC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6052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0F007E-9FA6-4B7E-A5CD-8A22DEFAC43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9774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C9E3B4-6F32-4F8A-BEC1-34217B1F27E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45365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4275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40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52800"/>
            <a:ext cx="8686800" cy="2743200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895603" y="609600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" y="609600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791200" y="609600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514604" y="5410200"/>
            <a:ext cx="6019800" cy="533400"/>
          </a:xfrm>
        </p:spPr>
        <p:txBody>
          <a:bodyPr anchor="b" anchorCtr="0">
            <a:noAutofit/>
          </a:bodyPr>
          <a:lstStyle>
            <a:lvl1pPr marL="0" indent="0" algn="r">
              <a:lnSpc>
                <a:spcPts val="18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resenter details comes here</a:t>
            </a:r>
          </a:p>
          <a:p>
            <a:pPr lvl="0"/>
            <a:r>
              <a:rPr lang="en-GB" dirty="0"/>
              <a:t>Date and other details can com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4" y="3810004"/>
            <a:ext cx="6019800" cy="1524000"/>
          </a:xfrm>
        </p:spPr>
        <p:txBody>
          <a:bodyPr anchor="ctr" anchorCtr="0">
            <a:noAutofit/>
          </a:bodyPr>
          <a:lstStyle>
            <a:lvl1pPr algn="l">
              <a:lnSpc>
                <a:spcPts val="4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lease enter the presentation title here</a:t>
            </a:r>
            <a:endParaRPr lang="en-US" dirty="0"/>
          </a:p>
        </p:txBody>
      </p:sp>
      <p:pic>
        <p:nvPicPr>
          <p:cNvPr id="13" name="Picture 12" descr="BITS_university_logo_whitevert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6200" y="3352804"/>
            <a:ext cx="2057400" cy="198000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-76200" y="5257803"/>
            <a:ext cx="2209800" cy="54765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/>
            <a:r>
              <a:rPr lang="en-US" sz="2900" b="1" spc="-150" dirty="0">
                <a:solidFill>
                  <a:prstClr val="white"/>
                </a:solidFill>
                <a:latin typeface="Arial"/>
                <a:cs typeface="Arial"/>
              </a:rPr>
              <a:t>BITS</a:t>
            </a:r>
            <a:r>
              <a:rPr lang="en-US" sz="2900" spc="-150" dirty="0">
                <a:solidFill>
                  <a:prstClr val="white"/>
                </a:solidFill>
                <a:latin typeface="Arial"/>
                <a:cs typeface="Arial"/>
              </a:rPr>
              <a:t> Pilani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52400" y="5666605"/>
            <a:ext cx="1905000" cy="280742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  <a:latin typeface="Arial"/>
                <a:cs typeface="Arial"/>
              </a:rPr>
              <a:t>Pilani Campus</a:t>
            </a:r>
          </a:p>
        </p:txBody>
      </p:sp>
    </p:spTree>
    <p:extLst>
      <p:ext uri="{BB962C8B-B14F-4D97-AF65-F5344CB8AC3E}">
        <p14:creationId xmlns:p14="http://schemas.microsoft.com/office/powerpoint/2010/main" val="113624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5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22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04275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40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5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22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40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762362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5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3872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5139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375859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8" cstate="print"/>
          <a:srcRect r="5665" b="5637"/>
          <a:stretch/>
        </p:blipFill>
        <p:spPr bwMode="auto">
          <a:xfrm>
            <a:off x="-1" y="0"/>
            <a:ext cx="9144001" cy="6859621"/>
          </a:xfrm>
          <a:prstGeom prst="rect">
            <a:avLst/>
          </a:prstGeom>
          <a:noFill/>
        </p:spPr>
      </p:pic>
      <p:grpSp>
        <p:nvGrpSpPr>
          <p:cNvPr id="3" name="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7" y="17"/>
            <a:ext cx="9140760" cy="6859620"/>
            <a:chOff x="0" y="0"/>
            <a:chExt cx="5643" cy="4235"/>
          </a:xfrm>
        </p:grpSpPr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6" y="6574562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 userDrawn="1"/>
        </p:nvSpPr>
        <p:spPr>
          <a:xfrm>
            <a:off x="0" y="3440338"/>
            <a:ext cx="8863767" cy="2798919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2954589" y="6239257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0" y="6239257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5909178" y="6239257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35" name="Picture 34" descr="BITS_university_logo_whitevert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8592"/>
          <a:stretch/>
        </p:blipFill>
        <p:spPr>
          <a:xfrm>
            <a:off x="77752" y="3440338"/>
            <a:ext cx="2099313" cy="2020217"/>
          </a:xfrm>
          <a:prstGeom prst="rect">
            <a:avLst/>
          </a:prstGeom>
        </p:spPr>
      </p:pic>
      <p:grpSp>
        <p:nvGrpSpPr>
          <p:cNvPr id="4" name="Group 35"/>
          <p:cNvGrpSpPr/>
          <p:nvPr userDrawn="1"/>
        </p:nvGrpSpPr>
        <p:grpSpPr>
          <a:xfrm>
            <a:off x="-77752" y="5384032"/>
            <a:ext cx="2254818" cy="699730"/>
            <a:chOff x="76200" y="2209800"/>
            <a:chExt cx="2209800" cy="685800"/>
          </a:xfrm>
        </p:grpSpPr>
        <p:sp>
          <p:nvSpPr>
            <p:cNvPr id="37" name="TextBox 36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52"/>
            <a:ext cx="6199129" cy="282625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270825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" y="17"/>
            <a:ext cx="9142381" cy="6882118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 userDrawn="1"/>
        </p:nvSpPr>
        <p:spPr>
          <a:xfrm>
            <a:off x="0" y="4253985"/>
            <a:ext cx="9144000" cy="262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5" name="Picture 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764470" y="16"/>
            <a:ext cx="2237873" cy="70676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941630" y="6806168"/>
            <a:ext cx="2954589" cy="777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2959" y="6806168"/>
            <a:ext cx="2954589" cy="777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896219" y="6806168"/>
            <a:ext cx="2954589" cy="777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grpSp>
        <p:nvGrpSpPr>
          <p:cNvPr id="2" name="Group 9"/>
          <p:cNvGrpSpPr/>
          <p:nvPr userDrawn="1"/>
        </p:nvGrpSpPr>
        <p:grpSpPr>
          <a:xfrm>
            <a:off x="6997711" y="777477"/>
            <a:ext cx="2254818" cy="699730"/>
            <a:chOff x="76200" y="2209800"/>
            <a:chExt cx="2209800" cy="685800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76200" y="2209800"/>
              <a:ext cx="2209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000" b="1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BITS</a:t>
              </a:r>
              <a:r>
                <a:rPr lang="en-US" sz="3000" spc="-153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 Pilani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228600" y="2664768"/>
              <a:ext cx="190500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FFFFFF"/>
                  </a:solidFill>
                  <a:latin typeface="Arial"/>
                  <a:ea typeface="ＭＳ Ｐゴシック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1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0728" y="4616273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1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57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Server\D\jyoti\FI023_BITS_v1\styleguide img\IMG_5627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"/>
            <a:ext cx="9144000" cy="6858000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0" y="4282182"/>
            <a:ext cx="9144000" cy="257581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 descr="Picture 7.png"/>
          <p:cNvPicPr>
            <a:picLocks noChangeAspect="1"/>
          </p:cNvPicPr>
          <p:nvPr userDrawn="1"/>
        </p:nvPicPr>
        <p:blipFill>
          <a:blip r:embed="rId3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17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304800" y="4648200"/>
            <a:ext cx="8458200" cy="16002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Topic headings here </a:t>
            </a:r>
          </a:p>
          <a:p>
            <a:pPr lvl="0"/>
            <a:r>
              <a:rPr lang="en-US" dirty="0"/>
              <a:t>(separator - can run in two lines)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882900" y="6775450"/>
            <a:ext cx="2895600" cy="76200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-12700" y="6775450"/>
            <a:ext cx="2895600" cy="76200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5778504" y="6775450"/>
            <a:ext cx="2895600" cy="762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858000" y="762003"/>
            <a:ext cx="2209800" cy="54765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ctr"/>
            <a:r>
              <a:rPr lang="en-US" sz="2900" b="1" spc="-150" dirty="0">
                <a:solidFill>
                  <a:prstClr val="white"/>
                </a:solidFill>
                <a:latin typeface="Arial"/>
                <a:cs typeface="Arial"/>
              </a:rPr>
              <a:t>BITS</a:t>
            </a:r>
            <a:r>
              <a:rPr lang="en-US" sz="2900" spc="-150" dirty="0">
                <a:solidFill>
                  <a:prstClr val="white"/>
                </a:solidFill>
                <a:latin typeface="Arial"/>
                <a:cs typeface="Arial"/>
              </a:rPr>
              <a:t> Pilani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5244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493841"/>
            <a:ext cx="8229600" cy="4525963"/>
          </a:xfrm>
        </p:spPr>
        <p:txBody>
          <a:bodyPr/>
          <a:lstStyle>
            <a:lvl1pPr marL="342754" marR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None/>
              <a:tabLst/>
              <a:defRPr sz="2400">
                <a:latin typeface="Arial" pitchFamily="34" charset="0"/>
                <a:cs typeface="Arial" pitchFamily="34" charset="0"/>
              </a:defRPr>
            </a:lvl1pPr>
            <a:lvl2pPr marL="742636" marR="0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>
                <a:latin typeface="Arial" pitchFamily="34" charset="0"/>
                <a:cs typeface="Arial" pitchFamily="34" charset="0"/>
              </a:defRPr>
            </a:lvl2pPr>
          </a:lstStyle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  <a:endParaRPr kumimoji="0" lang="en-GB" sz="2400" u="none" strike="noStrike" kern="1200" cap="none" spc="0" normalizeH="0" noProof="0" dirty="0">
              <a:ln>
                <a:noFill/>
              </a:ln>
              <a:solidFill>
                <a:srgbClr val="10114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endParaRPr lang="en-US" dirty="0"/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endParaRPr lang="en-US" dirty="0"/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Deemed to be University under Section 3, UGC Act</a:t>
            </a:r>
          </a:p>
        </p:txBody>
      </p:sp>
      <p:grpSp>
        <p:nvGrpSpPr>
          <p:cNvPr id="2" name="Group 11"/>
          <p:cNvGrpSpPr/>
          <p:nvPr userDrawn="1"/>
        </p:nvGrpSpPr>
        <p:grpSpPr>
          <a:xfrm>
            <a:off x="2083892" y="6550675"/>
            <a:ext cx="7060112" cy="48665"/>
            <a:chOff x="2083888" y="6550671"/>
            <a:chExt cx="7060112" cy="48665"/>
          </a:xfrm>
        </p:grpSpPr>
        <p:sp>
          <p:nvSpPr>
            <p:cNvPr id="13" name="Rectangle 12"/>
            <p:cNvSpPr/>
            <p:nvPr/>
          </p:nvSpPr>
          <p:spPr>
            <a:xfrm>
              <a:off x="4630476" y="6550672"/>
              <a:ext cx="2328591" cy="48664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07874" y="6550671"/>
              <a:ext cx="2236126" cy="45719"/>
            </a:xfrm>
            <a:prstGeom prst="rect">
              <a:avLst/>
            </a:prstGeom>
            <a:solidFill>
              <a:srgbClr val="E31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3888" y="6550672"/>
              <a:ext cx="2580680" cy="48664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grpSp>
        <p:nvGrpSpPr>
          <p:cNvPr id="4" name="Group 18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20" name="Rectangle 19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22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24" name="Rectangle 23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7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sp>
        <p:nvSpPr>
          <p:cNvPr id="2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81000" y="6492875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fld id="{BD0827E9-CFC9-46E1-A7D1-8887B5DA61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55C652-FC7F-4E15-B2B8-09AF2DB910E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02" tIns="45701" rIns="91402" bIns="4570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02" tIns="45701" rIns="91402" bIns="4570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 marL="342754" marR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None/>
              <a:tabLst/>
              <a:defRPr sz="2800"/>
            </a:lvl1pPr>
            <a:lvl2pPr marL="742636" marR="0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  <a:endParaRPr kumimoji="0" lang="en-GB" sz="2400" u="none" strike="noStrike" kern="1200" cap="none" spc="0" normalizeH="0" noProof="0" dirty="0">
              <a:ln>
                <a:noFill/>
              </a:ln>
              <a:solidFill>
                <a:srgbClr val="10114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lang="en-US" dirty="0"/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 hasCustomPrompt="1"/>
          </p:nvPr>
        </p:nvSpPr>
        <p:spPr>
          <a:xfrm>
            <a:off x="4953000" y="1600205"/>
            <a:ext cx="4038600" cy="4525963"/>
          </a:xfrm>
        </p:spPr>
        <p:txBody>
          <a:bodyPr/>
          <a:lstStyle>
            <a:lvl1pPr marL="342754" marR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None/>
              <a:tabLst/>
              <a:defRPr sz="2800"/>
            </a:lvl1pPr>
            <a:lvl2pPr marL="742636" marR="0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600">
                <a:latin typeface="Arial" pitchFamily="34" charset="0"/>
                <a:cs typeface="Arial" pitchFamily="34" charset="0"/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lvl="1"/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</a:p>
          <a:p>
            <a:pPr marL="742636" marR="0" lvl="1" indent="-285630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en-US" dirty="0"/>
              <a:t>Second level</a:t>
            </a:r>
            <a:endParaRPr kumimoji="0" lang="en-GB" sz="2400" u="none" strike="noStrike" kern="1200" cap="none" spc="0" normalizeH="0" noProof="0" dirty="0">
              <a:ln>
                <a:noFill/>
              </a:ln>
              <a:solidFill>
                <a:srgbClr val="10114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marL="342754" marR="0" lvl="0" indent="-342754" algn="l" defTabSz="91401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0114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2400" u="none" strike="noStrike" kern="1200" cap="none" spc="0" normalizeH="0" baseline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Lore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sit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amet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dolor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GB" sz="2400" u="none" strike="noStrike" kern="1200" cap="none" spc="0" normalizeH="0" noProof="0" dirty="0" err="1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ipsum</a:t>
            </a:r>
            <a:r>
              <a:rPr kumimoji="0" lang="en-GB" sz="2400" u="none" strike="noStrike" kern="1200" cap="none" spc="0" normalizeH="0" noProof="0" dirty="0">
                <a:ln>
                  <a:noFill/>
                </a:ln>
                <a:solidFill>
                  <a:srgbClr val="10114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 userDrawn="1"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19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21" name="Rectangle 20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28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30" name="Rectangle 29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34" name="TextBox 33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Pilani Campu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4" y="1535112"/>
            <a:ext cx="4040188" cy="82708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4" y="2362199"/>
            <a:ext cx="4040188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2"/>
            <a:ext cx="4041775" cy="82708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362199"/>
            <a:ext cx="4041775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10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12" name="Rectangle 11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Group 15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7" name="Rectangle 16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0" name="Picture 19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Deemed to be University under Section 3 of UGC Act, 1956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304800" y="152400"/>
            <a:ext cx="6324600" cy="1143000"/>
          </a:xfrm>
        </p:spPr>
        <p:txBody>
          <a:bodyPr anchor="ctr" anchorCtr="0">
            <a:normAutofit/>
          </a:bodyPr>
          <a:lstStyle>
            <a:lvl1pPr marL="0">
              <a:lnSpc>
                <a:spcPts val="3600"/>
              </a:lnSpc>
              <a:spcBef>
                <a:spcPts val="0"/>
              </a:spcBef>
              <a:buNone/>
              <a:defRPr sz="3600" b="1" spc="-15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lide heading here and it can run in two lines</a:t>
            </a:r>
          </a:p>
        </p:txBody>
      </p:sp>
      <p:grpSp>
        <p:nvGrpSpPr>
          <p:cNvPr id="2" name="Group 5"/>
          <p:cNvGrpSpPr/>
          <p:nvPr userDrawn="1"/>
        </p:nvGrpSpPr>
        <p:grpSpPr>
          <a:xfrm>
            <a:off x="0" y="1295404"/>
            <a:ext cx="7010400" cy="45719"/>
            <a:chOff x="1905000" y="6553200"/>
            <a:chExt cx="7010400" cy="45719"/>
          </a:xfrm>
        </p:grpSpPr>
        <p:sp>
          <p:nvSpPr>
            <p:cNvPr id="7" name="Rectangle 6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10"/>
          <p:cNvGrpSpPr/>
          <p:nvPr userDrawn="1"/>
        </p:nvGrpSpPr>
        <p:grpSpPr>
          <a:xfrm>
            <a:off x="2133600" y="6553204"/>
            <a:ext cx="7010400" cy="45719"/>
            <a:chOff x="1905000" y="6553200"/>
            <a:chExt cx="7010400" cy="45719"/>
          </a:xfrm>
        </p:grpSpPr>
        <p:sp>
          <p:nvSpPr>
            <p:cNvPr id="12" name="Rectangle 11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5" name="Picture 14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>
          <a:xfrm>
            <a:off x="6629404" y="3"/>
            <a:ext cx="2193193" cy="692697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276600" y="6596390"/>
            <a:ext cx="5867400" cy="2650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algn="r"/>
            <a:r>
              <a:rPr lang="en-US" sz="1100" b="1" dirty="0">
                <a:solidFill>
                  <a:srgbClr val="101141"/>
                </a:solidFill>
                <a:latin typeface="Arial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cs typeface="Arial"/>
              </a:rPr>
              <a:t>Pilani, Deemed to be University under Section 3 of UGC Act, 1956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image" Target="../media/image5.png"/><Relationship Id="rId10" Type="http://schemas.openxmlformats.org/officeDocument/2006/relationships/tags" Target="../tags/tag6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image" Target="../media/image7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5.png"/><Relationship Id="rId10" Type="http://schemas.openxmlformats.org/officeDocument/2006/relationships/tags" Target="../tags/tag18.xml"/><Relationship Id="rId4" Type="http://schemas.openxmlformats.org/officeDocument/2006/relationships/theme" Target="../theme/theme3.xml"/><Relationship Id="rId9" Type="http://schemas.openxmlformats.org/officeDocument/2006/relationships/tags" Target="../tags/tag17.xml"/><Relationship Id="rId14" Type="http://schemas.openxmlformats.org/officeDocument/2006/relationships/image" Target="../media/image7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image" Target="../media/image5.png"/><Relationship Id="rId10" Type="http://schemas.openxmlformats.org/officeDocument/2006/relationships/tags" Target="../tags/tag30.xml"/><Relationship Id="rId4" Type="http://schemas.openxmlformats.org/officeDocument/2006/relationships/theme" Target="../theme/theme4.xml"/><Relationship Id="rId9" Type="http://schemas.openxmlformats.org/officeDocument/2006/relationships/tags" Target="../tags/tag29.xml"/><Relationship Id="rId14" Type="http://schemas.openxmlformats.org/officeDocument/2006/relationships/image" Target="../media/image7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image" Target="../media/image5.png"/><Relationship Id="rId10" Type="http://schemas.openxmlformats.org/officeDocument/2006/relationships/tags" Target="../tags/tag42.xml"/><Relationship Id="rId4" Type="http://schemas.openxmlformats.org/officeDocument/2006/relationships/theme" Target="../theme/theme5.xml"/><Relationship Id="rId9" Type="http://schemas.openxmlformats.org/officeDocument/2006/relationships/tags" Target="../tags/tag41.xml"/><Relationship Id="rId14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32460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AC55C652-FC7F-4E15-B2B8-09AF2DB910E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33" r:id="rId14"/>
    <p:sldLayoutId id="2147483737" r:id="rId15"/>
    <p:sldLayoutId id="2147483738" r:id="rId16"/>
    <p:sldLayoutId id="2147483739" r:id="rId17"/>
    <p:sldLayoutId id="2147483740" r:id="rId18"/>
  </p:sldLayoutIdLst>
  <p:hf hdr="0" ftr="0" dt="0"/>
  <p:txStyles>
    <p:titleStyle>
      <a:lvl1pPr algn="l" defTabSz="914012" rtl="0" eaLnBrk="1" latinLnBrk="0" hangingPunct="1">
        <a:spcBef>
          <a:spcPct val="0"/>
        </a:spcBef>
        <a:buNone/>
        <a:defRPr sz="4000" b="1" kern="1200" spc="-15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93" y="260785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2" y="54262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20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12" indent="-621712" defTabSz="913138" fontAlgn="base">
                <a:spcBef>
                  <a:spcPct val="0"/>
                </a:spcBef>
                <a:spcAft>
                  <a:spcPct val="0"/>
                </a:spcAft>
                <a:tabLst>
                  <a:tab pos="624949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256" tIns="46628" rIns="93256" bIns="46628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39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16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03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93" y="260785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2" y="54262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20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12" indent="-621712" defTabSz="913138" fontAlgn="base">
                <a:spcBef>
                  <a:spcPct val="0"/>
                </a:spcBef>
                <a:spcAft>
                  <a:spcPct val="0"/>
                </a:spcAft>
                <a:tabLst>
                  <a:tab pos="624949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256" tIns="46628" rIns="93256" bIns="46628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39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16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03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3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93" y="260785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2" y="54262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20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12" indent="-621712" defTabSz="913138" fontAlgn="base">
                <a:spcBef>
                  <a:spcPct val="0"/>
                </a:spcBef>
                <a:spcAft>
                  <a:spcPct val="0"/>
                </a:spcAft>
                <a:tabLst>
                  <a:tab pos="624949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9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58" y="4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256" tIns="46628" rIns="93256" bIns="46628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39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16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03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56" tIns="46628" rIns="93256" bIns="4662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469121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</p:sldLayoutIdLst>
  <p:hf hdr="0" ft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27523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8944943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978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505" y="260797"/>
            <a:ext cx="6526337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3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505" y="54263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3833" y="6292816"/>
            <a:ext cx="4072089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0921" indent="-620921" defTabSz="911978" fontAlgn="base">
                <a:spcBef>
                  <a:spcPct val="0"/>
                </a:spcBef>
                <a:spcAft>
                  <a:spcPct val="0"/>
                </a:spcAft>
                <a:tabLst>
                  <a:tab pos="62415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32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5" name="Group 21"/>
          <p:cNvGrpSpPr/>
          <p:nvPr/>
        </p:nvGrpSpPr>
        <p:grpSpPr>
          <a:xfrm>
            <a:off x="0" y="889827"/>
            <a:ext cx="7153216" cy="46648"/>
            <a:chOff x="1905000" y="6553200"/>
            <a:chExt cx="7010400" cy="45719"/>
          </a:xfrm>
        </p:grpSpPr>
        <p:sp>
          <p:nvSpPr>
            <p:cNvPr id="23" name="Rectangle 22"/>
            <p:cNvSpPr/>
            <p:nvPr/>
          </p:nvSpPr>
          <p:spPr>
            <a:xfrm>
              <a:off x="4267200" y="6553200"/>
              <a:ext cx="2328591" cy="45719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05000" y="6553200"/>
              <a:ext cx="2362200" cy="45719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6586809" y="6553200"/>
              <a:ext cx="2328591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38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26" name="Picture 25" descr="Picture 7.png"/>
          <p:cNvPicPr>
            <a:picLocks noChangeAspect="1"/>
          </p:cNvPicPr>
          <p:nvPr/>
        </p:nvPicPr>
        <p:blipFill>
          <a:blip r:embed="rId15" cstate="print"/>
          <a:srcRect l="1923" b="5336"/>
          <a:stretch>
            <a:fillRect/>
          </a:stretch>
        </p:blipFill>
        <p:spPr>
          <a:xfrm>
            <a:off x="6764470" y="16"/>
            <a:ext cx="2237873" cy="70676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164497" y="6583938"/>
            <a:ext cx="5986930" cy="266924"/>
          </a:xfrm>
          <a:prstGeom prst="rect">
            <a:avLst/>
          </a:prstGeom>
          <a:noFill/>
        </p:spPr>
        <p:txBody>
          <a:bodyPr wrap="square" lIns="93136" tIns="46570" rIns="93136" bIns="46570" rtlCol="0">
            <a:spAutoFit/>
          </a:bodyPr>
          <a:lstStyle/>
          <a:p>
            <a:pPr algn="r" defTabSz="913238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BITS </a:t>
            </a:r>
            <a:r>
              <a:rPr lang="en-US" sz="1100" dirty="0">
                <a:solidFill>
                  <a:srgbClr val="101141"/>
                </a:solidFill>
                <a:latin typeface="Arial"/>
                <a:ea typeface="ＭＳ Ｐゴシック"/>
                <a:cs typeface="Arial"/>
              </a:rPr>
              <a:t>Pilani, Deemed to be University under Section 3 of UGC Act, 1956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408551" y="6500997"/>
            <a:ext cx="2376029" cy="4664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98228" y="6500997"/>
            <a:ext cx="2410323" cy="4664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75415" y="6500997"/>
            <a:ext cx="2376029" cy="4664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136" tIns="46570" rIns="93136" bIns="46570" rtlCol="0" anchor="ctr"/>
          <a:lstStyle/>
          <a:p>
            <a:pPr algn="ctr" defTabSz="91323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91707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</p:sldLayoutIdLst>
  <p:hf hdr="0" ftr="0" dt="0"/>
  <p:txStyles>
    <p:titleStyle>
      <a:lvl1pPr algn="l" defTabSz="911978" rtl="0" eaLnBrk="1" fontAlgn="base" hangingPunct="1">
        <a:spcBef>
          <a:spcPct val="0"/>
        </a:spcBef>
        <a:spcAft>
          <a:spcPct val="0"/>
        </a:spcAft>
        <a:tabLst>
          <a:tab pos="274887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681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383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075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761" algn="l" defTabSz="911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272" indent="-195656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681" indent="-26680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773" indent="-158466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733" indent="-132592" algn="l" defTabSz="911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681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383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075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761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453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142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9834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5525" algn="l" defTabSz="9313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04800" y="4267200"/>
            <a:ext cx="8458200" cy="1600200"/>
          </a:xfrm>
        </p:spPr>
        <p:txBody>
          <a:bodyPr/>
          <a:lstStyle/>
          <a:p>
            <a:r>
              <a:rPr lang="en-US" dirty="0"/>
              <a:t>                           </a:t>
            </a:r>
            <a:r>
              <a:rPr lang="en-US" dirty="0" err="1"/>
              <a:t>RKTiwary</a:t>
            </a:r>
            <a:endParaRPr lang="en-US" dirty="0"/>
          </a:p>
          <a:p>
            <a:r>
              <a:rPr lang="en-US" dirty="0"/>
              <a:t>                       COA -IS ZC353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1384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146"/>
            <a:ext cx="3352800" cy="7921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1066800"/>
            <a:ext cx="86868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nsider any binary number in 2’s complement </a:t>
            </a:r>
          </a:p>
          <a:p>
            <a:r>
              <a:rPr lang="en-US" sz="2400" dirty="0"/>
              <a:t>101101  </a:t>
            </a:r>
          </a:p>
          <a:p>
            <a:r>
              <a:rPr lang="en-US" sz="2400" dirty="0"/>
              <a:t>      = -2</a:t>
            </a:r>
            <a:r>
              <a:rPr lang="en-US" sz="2400" baseline="30000" dirty="0"/>
              <a:t>6-1</a:t>
            </a:r>
            <a:r>
              <a:rPr lang="en-US" sz="2400" dirty="0"/>
              <a:t>.1  + 2</a:t>
            </a:r>
            <a:r>
              <a:rPr lang="en-US" sz="2400" baseline="30000" dirty="0"/>
              <a:t>4</a:t>
            </a:r>
            <a:r>
              <a:rPr lang="en-US" sz="2400" dirty="0"/>
              <a:t>.0 + 2</a:t>
            </a:r>
            <a:r>
              <a:rPr lang="en-US" sz="2400" baseline="30000" dirty="0"/>
              <a:t>3</a:t>
            </a:r>
            <a:r>
              <a:rPr lang="en-US" sz="2400" dirty="0"/>
              <a:t>.1 + 2</a:t>
            </a:r>
            <a:r>
              <a:rPr lang="en-US" sz="2400" baseline="30000" dirty="0"/>
              <a:t>2</a:t>
            </a:r>
            <a:r>
              <a:rPr lang="en-US" sz="2400" dirty="0"/>
              <a:t>.1 + 2</a:t>
            </a:r>
            <a:r>
              <a:rPr lang="en-US" sz="2400" baseline="30000" dirty="0"/>
              <a:t>1</a:t>
            </a:r>
            <a:r>
              <a:rPr lang="en-US" sz="2400" dirty="0"/>
              <a:t>.0+ 2</a:t>
            </a:r>
            <a:r>
              <a:rPr lang="en-US" sz="2400" baseline="30000" dirty="0"/>
              <a:t>0</a:t>
            </a:r>
            <a:r>
              <a:rPr lang="en-US" sz="2400" dirty="0"/>
              <a:t>.1 </a:t>
            </a:r>
          </a:p>
          <a:p>
            <a:r>
              <a:rPr lang="en-US" sz="2400" dirty="0"/>
              <a:t>      =-32 + 0 + 8 + 4 + 0 + 1= -19</a:t>
            </a:r>
          </a:p>
          <a:p>
            <a:r>
              <a:rPr lang="en-US" sz="2400" dirty="0"/>
              <a:t> The 2’s complement of 101101  is 010011= 19 </a:t>
            </a:r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57961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146"/>
            <a:ext cx="3352800" cy="7921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1066800"/>
            <a:ext cx="8686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nsider any binary number in 2’s complement </a:t>
            </a:r>
          </a:p>
          <a:p>
            <a:r>
              <a:rPr lang="en-US" sz="2400" dirty="0"/>
              <a:t>101101  </a:t>
            </a:r>
          </a:p>
          <a:p>
            <a:r>
              <a:rPr lang="en-US" sz="2400" dirty="0"/>
              <a:t>      = -2</a:t>
            </a:r>
            <a:r>
              <a:rPr lang="en-US" sz="2400" baseline="30000" dirty="0"/>
              <a:t>6-1</a:t>
            </a:r>
            <a:r>
              <a:rPr lang="en-US" sz="2400" dirty="0"/>
              <a:t>.1  + 2</a:t>
            </a:r>
            <a:r>
              <a:rPr lang="en-US" sz="2400" baseline="30000" dirty="0"/>
              <a:t>4</a:t>
            </a:r>
            <a:r>
              <a:rPr lang="en-US" sz="2400" dirty="0"/>
              <a:t>.0 + 2</a:t>
            </a:r>
            <a:r>
              <a:rPr lang="en-US" sz="2400" baseline="30000" dirty="0"/>
              <a:t>3</a:t>
            </a:r>
            <a:r>
              <a:rPr lang="en-US" sz="2400" dirty="0"/>
              <a:t>.1 + 2</a:t>
            </a:r>
            <a:r>
              <a:rPr lang="en-US" sz="2400" baseline="30000" dirty="0"/>
              <a:t>2</a:t>
            </a:r>
            <a:r>
              <a:rPr lang="en-US" sz="2400" dirty="0"/>
              <a:t>.1 + 2</a:t>
            </a:r>
            <a:r>
              <a:rPr lang="en-US" sz="2400" baseline="30000" dirty="0"/>
              <a:t>1</a:t>
            </a:r>
            <a:r>
              <a:rPr lang="en-US" sz="2400" dirty="0"/>
              <a:t>.0+ 2</a:t>
            </a:r>
            <a:r>
              <a:rPr lang="en-US" sz="2400" baseline="30000" dirty="0"/>
              <a:t>0</a:t>
            </a:r>
            <a:r>
              <a:rPr lang="en-US" sz="2400" dirty="0"/>
              <a:t>.1 </a:t>
            </a:r>
          </a:p>
          <a:p>
            <a:r>
              <a:rPr lang="en-US" sz="2400" dirty="0"/>
              <a:t>      =-32 + 0 + 8 + 4 + 0 + 1= -19</a:t>
            </a:r>
          </a:p>
          <a:p>
            <a:r>
              <a:rPr lang="en-US" sz="2400" dirty="0"/>
              <a:t> The 2’s complement of 101101  is 010011= 19</a:t>
            </a:r>
          </a:p>
          <a:p>
            <a:endParaRPr lang="en-US" sz="2400" dirty="0"/>
          </a:p>
          <a:p>
            <a:r>
              <a:rPr lang="en-US" sz="2400" dirty="0"/>
              <a:t>Now if a 1 is appended  then  1101101 ? </a:t>
            </a:r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64071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146"/>
            <a:ext cx="3352800" cy="7921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1066800"/>
            <a:ext cx="8991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nsider any binary number in 2’s complement </a:t>
            </a:r>
          </a:p>
          <a:p>
            <a:r>
              <a:rPr lang="en-US" sz="2400" dirty="0"/>
              <a:t>101101  </a:t>
            </a:r>
          </a:p>
          <a:p>
            <a:r>
              <a:rPr lang="en-US" sz="2400" dirty="0"/>
              <a:t>      = -2</a:t>
            </a:r>
            <a:r>
              <a:rPr lang="en-US" sz="2400" baseline="30000" dirty="0"/>
              <a:t>6-1</a:t>
            </a:r>
            <a:r>
              <a:rPr lang="en-US" sz="2400" dirty="0"/>
              <a:t>.1  + 2</a:t>
            </a:r>
            <a:r>
              <a:rPr lang="en-US" sz="2400" baseline="30000" dirty="0"/>
              <a:t>4</a:t>
            </a:r>
            <a:r>
              <a:rPr lang="en-US" sz="2400" dirty="0"/>
              <a:t>.0 + 2</a:t>
            </a:r>
            <a:r>
              <a:rPr lang="en-US" sz="2400" baseline="30000" dirty="0"/>
              <a:t>3</a:t>
            </a:r>
            <a:r>
              <a:rPr lang="en-US" sz="2400" dirty="0"/>
              <a:t>.1 + 2</a:t>
            </a:r>
            <a:r>
              <a:rPr lang="en-US" sz="2400" baseline="30000" dirty="0"/>
              <a:t>2</a:t>
            </a:r>
            <a:r>
              <a:rPr lang="en-US" sz="2400" dirty="0"/>
              <a:t>.1 + 2</a:t>
            </a:r>
            <a:r>
              <a:rPr lang="en-US" sz="2400" baseline="30000" dirty="0"/>
              <a:t>1</a:t>
            </a:r>
            <a:r>
              <a:rPr lang="en-US" sz="2400" dirty="0"/>
              <a:t>.0+ 2</a:t>
            </a:r>
            <a:r>
              <a:rPr lang="en-US" sz="2400" baseline="30000" dirty="0"/>
              <a:t>0</a:t>
            </a:r>
            <a:r>
              <a:rPr lang="en-US" sz="2400" dirty="0"/>
              <a:t>.1 </a:t>
            </a:r>
          </a:p>
          <a:p>
            <a:r>
              <a:rPr lang="en-US" sz="2400" dirty="0"/>
              <a:t>      =-32 + 0 + 8 + 4 + 0 + 1= -19</a:t>
            </a:r>
          </a:p>
          <a:p>
            <a:r>
              <a:rPr lang="en-US" sz="2400" dirty="0"/>
              <a:t> The 2’s complement of 101101  is 010011= 19</a:t>
            </a:r>
          </a:p>
          <a:p>
            <a:endParaRPr lang="en-US" sz="2400" dirty="0"/>
          </a:p>
          <a:p>
            <a:r>
              <a:rPr lang="en-US" sz="2400" dirty="0"/>
              <a:t>Now if a 1 is appended  then  1101101 ? </a:t>
            </a:r>
          </a:p>
          <a:p>
            <a:endParaRPr lang="en-US" sz="2400" dirty="0"/>
          </a:p>
          <a:p>
            <a:r>
              <a:rPr lang="en-US" sz="2400" dirty="0"/>
              <a:t>1101101= -2</a:t>
            </a:r>
            <a:r>
              <a:rPr lang="en-US" sz="2400" baseline="30000" dirty="0"/>
              <a:t>7-1</a:t>
            </a:r>
            <a:r>
              <a:rPr lang="en-US" sz="2400" dirty="0"/>
              <a:t>.1  + 2</a:t>
            </a:r>
            <a:r>
              <a:rPr lang="en-US" sz="2400" baseline="30000" dirty="0"/>
              <a:t>5</a:t>
            </a:r>
            <a:r>
              <a:rPr lang="en-US" sz="2400" dirty="0"/>
              <a:t>.1 + 2</a:t>
            </a:r>
            <a:r>
              <a:rPr lang="en-US" sz="2400" baseline="30000" dirty="0"/>
              <a:t>4</a:t>
            </a:r>
            <a:r>
              <a:rPr lang="en-US" sz="2400" dirty="0"/>
              <a:t>.0 + 2</a:t>
            </a:r>
            <a:r>
              <a:rPr lang="en-US" sz="2400" baseline="30000" dirty="0"/>
              <a:t>3</a:t>
            </a:r>
            <a:r>
              <a:rPr lang="en-US" sz="2400" dirty="0"/>
              <a:t>.1 + 2</a:t>
            </a:r>
            <a:r>
              <a:rPr lang="en-US" sz="2400" baseline="30000" dirty="0"/>
              <a:t>2</a:t>
            </a:r>
            <a:r>
              <a:rPr lang="en-US" sz="2400" dirty="0"/>
              <a:t>.1+ 2</a:t>
            </a:r>
            <a:r>
              <a:rPr lang="en-US" sz="2400" baseline="30000" dirty="0"/>
              <a:t>1</a:t>
            </a:r>
            <a:r>
              <a:rPr lang="en-US" sz="2400" dirty="0"/>
              <a:t>.0 +  2</a:t>
            </a:r>
            <a:r>
              <a:rPr lang="en-US" sz="2400" baseline="30000" dirty="0"/>
              <a:t>0</a:t>
            </a:r>
            <a:r>
              <a:rPr lang="en-US" sz="2400" dirty="0"/>
              <a:t>.1</a:t>
            </a:r>
          </a:p>
          <a:p>
            <a:r>
              <a:rPr lang="en-US" sz="2400" dirty="0"/>
              <a:t>              = -64+ 32 +0 + 8 + 4 + 0 + 1</a:t>
            </a:r>
          </a:p>
          <a:p>
            <a:r>
              <a:rPr lang="en-US" sz="2400" dirty="0"/>
              <a:t>              = -19 </a:t>
            </a:r>
          </a:p>
          <a:p>
            <a:r>
              <a:rPr lang="en-US" sz="2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27664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dirty="0"/>
              <a:t>Addition and Subtrac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46892" y="1066800"/>
            <a:ext cx="861610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FLOW RULE: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two numbers are added, and they are both positive or both negative, then overflow occurs if and only if the result has the opposite sign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2057400"/>
            <a:ext cx="5943600" cy="4338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009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dirty="0"/>
              <a:t>Addition and Subtrac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46892" y="1066800"/>
            <a:ext cx="861610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/>
              <a:t>SUBTRACTION RULE: </a:t>
            </a:r>
            <a:r>
              <a:rPr lang="en-US" sz="2000" dirty="0"/>
              <a:t>To subtract one number (subtrahend) from another (minuend), take the twos complement (negation) of the subtrahend and add it to the minuend.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4810" y="2082463"/>
            <a:ext cx="4820270" cy="415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28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Block Diagram of Hardware for Addition and</a:t>
            </a:r>
            <a:br>
              <a:rPr lang="en-US" b="0" dirty="0"/>
            </a:br>
            <a:r>
              <a:rPr lang="en-US" b="0" dirty="0"/>
              <a:t>Subtrac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130" y="1143000"/>
            <a:ext cx="6096000" cy="507335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622430" y="5181600"/>
            <a:ext cx="24453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Times-Roman"/>
              </a:rPr>
              <a:t>OF= </a:t>
            </a:r>
            <a:r>
              <a:rPr lang="en-US" dirty="0">
                <a:latin typeface="MathematicalPi-One"/>
              </a:rPr>
              <a:t> </a:t>
            </a:r>
            <a:r>
              <a:rPr lang="en-US" dirty="0">
                <a:latin typeface="Times-Roman"/>
              </a:rPr>
              <a:t>Overflow bit</a:t>
            </a:r>
          </a:p>
          <a:p>
            <a:r>
              <a:rPr lang="en-US" dirty="0">
                <a:latin typeface="Times-Roman"/>
              </a:rPr>
              <a:t>SW </a:t>
            </a:r>
            <a:r>
              <a:rPr lang="en-US" dirty="0">
                <a:latin typeface="MathematicalPi-One"/>
              </a:rPr>
              <a:t> =</a:t>
            </a:r>
            <a:r>
              <a:rPr lang="en-US" dirty="0">
                <a:latin typeface="Times-Roman"/>
              </a:rPr>
              <a:t>Switch (select addition or subtraction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1196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sp>
        <p:nvSpPr>
          <p:cNvPr id="3" name="Rectangle 2"/>
          <p:cNvSpPr/>
          <p:nvPr/>
        </p:nvSpPr>
        <p:spPr>
          <a:xfrm>
            <a:off x="146892" y="990600"/>
            <a:ext cx="899710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808080"/>
                </a:solidFill>
                <a:latin typeface="TimesTen-Bold"/>
              </a:rPr>
              <a:t>1. </a:t>
            </a:r>
            <a:r>
              <a:rPr lang="en-US" sz="2000" dirty="0">
                <a:solidFill>
                  <a:srgbClr val="000000"/>
                </a:solidFill>
                <a:latin typeface="TimesTen-Roman"/>
              </a:rPr>
              <a:t>Multiplication involves the generation of partial products, one for each digit in the multiplier. These partial products are then summed to produce the final product.</a:t>
            </a:r>
          </a:p>
          <a:p>
            <a:r>
              <a:rPr lang="en-US" sz="2000" b="1" dirty="0">
                <a:solidFill>
                  <a:srgbClr val="808080"/>
                </a:solidFill>
                <a:latin typeface="TimesTen-Bold"/>
              </a:rPr>
              <a:t>2. </a:t>
            </a:r>
            <a:r>
              <a:rPr lang="en-US" sz="2000" dirty="0">
                <a:solidFill>
                  <a:srgbClr val="000000"/>
                </a:solidFill>
                <a:latin typeface="TimesTen-Roman"/>
              </a:rPr>
              <a:t>The partial products are easily defined. When the multiplier bit is 0, the partial product is 0.When the multiplier is 1, the partial product is the multiplicand.</a:t>
            </a:r>
          </a:p>
          <a:p>
            <a:r>
              <a:rPr lang="en-US" sz="2000" b="1" dirty="0"/>
              <a:t>3. </a:t>
            </a:r>
            <a:r>
              <a:rPr lang="en-US" sz="2000" dirty="0"/>
              <a:t>The total product is produced by summing the partial products. For this operation, each successive partial product is shifted one position to the left relative to the preceding partial product.</a:t>
            </a:r>
          </a:p>
          <a:p>
            <a:r>
              <a:rPr lang="en-US" sz="2000" b="1" dirty="0"/>
              <a:t>4. </a:t>
            </a:r>
            <a:r>
              <a:rPr lang="en-US" sz="2000" dirty="0"/>
              <a:t>The multiplication of two n-bit binary integers results in a product of up to 2n bits in length (e.g., 11 X 11=1001)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3194" y="4493875"/>
            <a:ext cx="3166061" cy="175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2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189022"/>
            <a:ext cx="6926035" cy="384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486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430" y="1282699"/>
            <a:ext cx="5486400" cy="5080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3923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079971"/>
              </p:ext>
            </p:extLst>
          </p:nvPr>
        </p:nvGraphicFramePr>
        <p:xfrm>
          <a:off x="1524000" y="1397000"/>
          <a:ext cx="6477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453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8B81B398-E61C-4A68-A43D-BD7E57218709}"/>
              </a:ext>
            </a:extLst>
          </p:cNvPr>
          <p:cNvSpPr txBox="1">
            <a:spLocks/>
          </p:cNvSpPr>
          <p:nvPr/>
        </p:nvSpPr>
        <p:spPr>
          <a:xfrm>
            <a:off x="539552" y="4221088"/>
            <a:ext cx="6191157" cy="83371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012" rtl="0" eaLnBrk="1" latinLnBrk="0" hangingPunct="1">
              <a:spcBef>
                <a:spcPct val="0"/>
              </a:spcBef>
              <a:buNone/>
              <a:defRPr sz="4000" b="1" kern="1200" spc="-15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5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pter 9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D32EFDF-2655-444C-9461-78867DFE0265}"/>
              </a:ext>
            </a:extLst>
          </p:cNvPr>
          <p:cNvSpPr txBox="1">
            <a:spLocks/>
          </p:cNvSpPr>
          <p:nvPr/>
        </p:nvSpPr>
        <p:spPr>
          <a:xfrm>
            <a:off x="533400" y="5085184"/>
            <a:ext cx="8610600" cy="838200"/>
          </a:xfrm>
          <a:prstGeom prst="rect">
            <a:avLst/>
          </a:prstGeom>
        </p:spPr>
        <p:txBody>
          <a:bodyPr>
            <a:normAutofit/>
          </a:bodyPr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/>
              <a:t>Computer Arithmetic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407435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452486"/>
              </p:ext>
            </p:extLst>
          </p:nvPr>
        </p:nvGraphicFramePr>
        <p:xfrm>
          <a:off x="1524000" y="1397000"/>
          <a:ext cx="6477000" cy="360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irst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79038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698522"/>
              </p:ext>
            </p:extLst>
          </p:nvPr>
        </p:nvGraphicFramePr>
        <p:xfrm>
          <a:off x="1524000" y="1397000"/>
          <a:ext cx="6477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47976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483355"/>
              </p:ext>
            </p:extLst>
          </p:nvPr>
        </p:nvGraphicFramePr>
        <p:xfrm>
          <a:off x="1524000" y="1397000"/>
          <a:ext cx="6477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4957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2266845"/>
              </p:ext>
            </p:extLst>
          </p:nvPr>
        </p:nvGraphicFramePr>
        <p:xfrm>
          <a:off x="1524000" y="1397000"/>
          <a:ext cx="6477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baseline="0" dirty="0"/>
                        <a:t> cycl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65901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2277086"/>
              </p:ext>
            </p:extLst>
          </p:nvPr>
        </p:nvGraphicFramePr>
        <p:xfrm>
          <a:off x="1524000" y="1397000"/>
          <a:ext cx="6477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baseline="0" dirty="0"/>
                        <a:t> cycl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16394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UNSIGNED INTEGER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937777"/>
              </p:ext>
            </p:extLst>
          </p:nvPr>
        </p:nvGraphicFramePr>
        <p:xfrm>
          <a:off x="1524000" y="1397000"/>
          <a:ext cx="64770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9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Initial</a:t>
                      </a:r>
                      <a:r>
                        <a:rPr lang="en-US" baseline="0" dirty="0"/>
                        <a:t> valu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baseline="0" dirty="0"/>
                        <a:t> cycl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6702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Multiplication of SIGNED INTEGER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3505200"/>
            <a:ext cx="7510463" cy="15811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57200" y="1171489"/>
            <a:ext cx="7848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imesTen-Roman"/>
              </a:rPr>
              <a:t>11 (1011) by 13 (1101) to get 143 (10001111)</a:t>
            </a:r>
          </a:p>
          <a:p>
            <a:endParaRPr lang="en-US" sz="2400" dirty="0">
              <a:latin typeface="TimesTen-Roman"/>
            </a:endParaRPr>
          </a:p>
          <a:p>
            <a:r>
              <a:rPr lang="en-US" sz="2400" dirty="0"/>
              <a:t>-5(1011) times -3 </a:t>
            </a:r>
            <a:r>
              <a:rPr lang="en-US" sz="2400" dirty="0">
                <a:latin typeface="TimesTen-Roman"/>
              </a:rPr>
              <a:t>(1101) equals -113 (10001111)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10938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oth Multipli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9862" y="1371600"/>
            <a:ext cx="4452938" cy="4919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3662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771714"/>
              </p:ext>
            </p:extLst>
          </p:nvPr>
        </p:nvGraphicFramePr>
        <p:xfrm>
          <a:off x="838200" y="1397000"/>
          <a:ext cx="70104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1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7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269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20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21341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075082"/>
              </p:ext>
            </p:extLst>
          </p:nvPr>
        </p:nvGraphicFramePr>
        <p:xfrm>
          <a:off x="838200" y="1397000"/>
          <a:ext cx="71628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9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6792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F9B45-10ED-4D7E-AF2C-2BAAB74B3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b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ithmetic &amp; Logic Unit (ALU)</a:t>
            </a:r>
            <a:endParaRPr lang="en-IN" sz="2400" b="0" dirty="0">
              <a:solidFill>
                <a:srgbClr val="FF0000"/>
              </a:solidFill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0133F482-C2E8-4599-A1D6-6FA6E6E04787}"/>
              </a:ext>
            </a:extLst>
          </p:cNvPr>
          <p:cNvSpPr txBox="1">
            <a:spLocks noChangeArrowheads="1"/>
          </p:cNvSpPr>
          <p:nvPr/>
        </p:nvSpPr>
        <p:spPr>
          <a:xfrm>
            <a:off x="304800" y="869907"/>
            <a:ext cx="8305800" cy="3549693"/>
          </a:xfrm>
          <a:prstGeom prst="rect">
            <a:avLst/>
          </a:prstGeom>
        </p:spPr>
        <p:txBody>
          <a:bodyPr/>
          <a:lstStyle>
            <a:lvl1pPr marL="0" indent="0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23" indent="-195905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281" indent="-267142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569" indent="-158666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kern="0" dirty="0">
                <a:solidFill>
                  <a:srgbClr val="7030A0"/>
                </a:solidFill>
              </a:rPr>
              <a:t>Part of the computer that actually performs arithmetic and logical operations on dat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kern="0" dirty="0">
                <a:solidFill>
                  <a:srgbClr val="7030A0"/>
                </a:solidFill>
              </a:rPr>
              <a:t> All of the other elements of the computer system are there mainly to bring data into the ALU for it to process and then to take the results back ou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kern="0" dirty="0">
                <a:solidFill>
                  <a:srgbClr val="7030A0"/>
                </a:solidFill>
              </a:rPr>
              <a:t> Based on the use of simple digital logic devices that can store binary digits and perform simple Boolean logic oper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4FD926-60F1-47D9-8B81-A4B13B9879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3888" y="4725144"/>
            <a:ext cx="2082800" cy="148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2628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996169"/>
              </p:ext>
            </p:extLst>
          </p:nvPr>
        </p:nvGraphicFramePr>
        <p:xfrm>
          <a:off x="838200" y="1397000"/>
          <a:ext cx="71628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9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37939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6918179"/>
              </p:ext>
            </p:extLst>
          </p:nvPr>
        </p:nvGraphicFramePr>
        <p:xfrm>
          <a:off x="838200" y="1397000"/>
          <a:ext cx="71628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9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55355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9287018"/>
              </p:ext>
            </p:extLst>
          </p:nvPr>
        </p:nvGraphicFramePr>
        <p:xfrm>
          <a:off x="838200" y="1397000"/>
          <a:ext cx="71628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9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62789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824329"/>
              </p:ext>
            </p:extLst>
          </p:nvPr>
        </p:nvGraphicFramePr>
        <p:xfrm>
          <a:off x="838200" y="1397000"/>
          <a:ext cx="71628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9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6763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995375"/>
              </p:ext>
            </p:extLst>
          </p:nvPr>
        </p:nvGraphicFramePr>
        <p:xfrm>
          <a:off x="838200" y="1397000"/>
          <a:ext cx="7162800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19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67170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273559"/>
              </p:ext>
            </p:extLst>
          </p:nvPr>
        </p:nvGraphicFramePr>
        <p:xfrm>
          <a:off x="838200" y="1397000"/>
          <a:ext cx="7315200" cy="3479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9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65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0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9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86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073953"/>
              </p:ext>
            </p:extLst>
          </p:nvPr>
        </p:nvGraphicFramePr>
        <p:xfrm>
          <a:off x="838200" y="4876800"/>
          <a:ext cx="7315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9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3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2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97813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273559"/>
              </p:ext>
            </p:extLst>
          </p:nvPr>
        </p:nvGraphicFramePr>
        <p:xfrm>
          <a:off x="838200" y="1397000"/>
          <a:ext cx="7315200" cy="3479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9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65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0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9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86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964773"/>
              </p:ext>
            </p:extLst>
          </p:nvPr>
        </p:nvGraphicFramePr>
        <p:xfrm>
          <a:off x="838200" y="4876800"/>
          <a:ext cx="7315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9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3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2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80955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273559"/>
              </p:ext>
            </p:extLst>
          </p:nvPr>
        </p:nvGraphicFramePr>
        <p:xfrm>
          <a:off x="838200" y="1397000"/>
          <a:ext cx="7315200" cy="3479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9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65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0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9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86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38650"/>
              </p:ext>
            </p:extLst>
          </p:nvPr>
        </p:nvGraphicFramePr>
        <p:xfrm>
          <a:off x="838200" y="4876800"/>
          <a:ext cx="7315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9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3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2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5312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76200"/>
            <a:ext cx="6526337" cy="596653"/>
          </a:xfrm>
        </p:spPr>
        <p:txBody>
          <a:bodyPr/>
          <a:lstStyle/>
          <a:p>
            <a:r>
              <a:rPr lang="en-US" dirty="0"/>
              <a:t>Multiplication of -8 X 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0" y="7620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01 A+M</a:t>
            </a:r>
          </a:p>
          <a:p>
            <a:r>
              <a:rPr lang="en-US" dirty="0"/>
              <a:t>10 A-M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273559"/>
              </p:ext>
            </p:extLst>
          </p:nvPr>
        </p:nvGraphicFramePr>
        <p:xfrm>
          <a:off x="838200" y="1397000"/>
          <a:ext cx="7315200" cy="3479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9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65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05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9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86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(multipli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Q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(Multiplic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+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00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6644">
                <a:tc>
                  <a:txBody>
                    <a:bodyPr/>
                    <a:lstStyle/>
                    <a:p>
                      <a:r>
                        <a:rPr lang="en-US" dirty="0"/>
                        <a:t>11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-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819315"/>
              </p:ext>
            </p:extLst>
          </p:nvPr>
        </p:nvGraphicFramePr>
        <p:xfrm>
          <a:off x="838200" y="4876800"/>
          <a:ext cx="7315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9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3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2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if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1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512+4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inal resul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56098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76200" y="304800"/>
            <a:ext cx="7467600" cy="762000"/>
          </a:xfrm>
        </p:spPr>
        <p:txBody>
          <a:bodyPr>
            <a:noAutofit/>
          </a:bodyPr>
          <a:lstStyle/>
          <a:p>
            <a:r>
              <a:rPr lang="en-US" sz="2400" b="0" dirty="0"/>
              <a:t>The basic grammar school division algorithm</a:t>
            </a:r>
          </a:p>
          <a:p>
            <a:r>
              <a:rPr lang="en-US" sz="2400" b="0" dirty="0"/>
              <a:t> Division Algorithm and Hardware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533400" y="1447800"/>
            <a:ext cx="670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Minion-Regular"/>
              </a:rPr>
              <a:t>Dividend </a:t>
            </a:r>
            <a:r>
              <a:rPr lang="en-US" dirty="0">
                <a:latin typeface="Symbol" panose="05050102010706020507" pitchFamily="18" charset="2"/>
              </a:rPr>
              <a:t>= </a:t>
            </a:r>
            <a:r>
              <a:rPr lang="en-US" dirty="0">
                <a:latin typeface="Minion-Regular"/>
              </a:rPr>
              <a:t>Quotient </a:t>
            </a:r>
            <a:r>
              <a:rPr lang="en-US" dirty="0">
                <a:latin typeface="Bookman Old Style" panose="02050604050505020204" pitchFamily="18" charset="0"/>
              </a:rPr>
              <a:t>x</a:t>
            </a:r>
            <a:r>
              <a:rPr lang="en-US" dirty="0">
                <a:latin typeface="Symbol" panose="05050102010706020507" pitchFamily="18" charset="2"/>
              </a:rPr>
              <a:t> </a:t>
            </a:r>
            <a:r>
              <a:rPr lang="en-US" dirty="0">
                <a:latin typeface="Minion-Regular"/>
              </a:rPr>
              <a:t>Divisor </a:t>
            </a:r>
            <a:r>
              <a:rPr lang="en-US" dirty="0">
                <a:latin typeface="Symbol" panose="05050102010706020507" pitchFamily="18" charset="2"/>
              </a:rPr>
              <a:t>+ </a:t>
            </a:r>
            <a:r>
              <a:rPr lang="en-US" dirty="0">
                <a:latin typeface="Minion-Regular"/>
              </a:rPr>
              <a:t>Remainder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70" y="2401957"/>
            <a:ext cx="5075925" cy="288856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250895" y="1295400"/>
            <a:ext cx="3688318" cy="4486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7030A0"/>
                </a:solidFill>
                <a:latin typeface="Minion-Regular"/>
              </a:rPr>
              <a:t>The Divisor register, ALU, and Remainder register are all 64 bits wide, with only the Quotient register being 32 bits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7030A0"/>
                </a:solidFill>
                <a:latin typeface="Minion-Regular"/>
              </a:rPr>
              <a:t> The 32-bit divisor starts in the left half of the Divisor register and is shifted right 1 bit each iteration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7030A0"/>
                </a:solidFill>
                <a:latin typeface="Minion-Regular"/>
              </a:rPr>
              <a:t> The remainder is initialized with the dividend. Control decides when to shift the Divisor and Quotient registers and when to write the new value into the Remainder register.</a:t>
            </a:r>
            <a:endParaRPr lang="en-US" sz="16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131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98A73-ACA6-4C0E-9648-08207CCE4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b="0" dirty="0">
                <a:solidFill>
                  <a:srgbClr val="FF0000"/>
                </a:solidFill>
              </a:rPr>
              <a:t>ALU Inputs and outputs</a:t>
            </a:r>
            <a:endParaRPr lang="en-IN" sz="2800" b="0" dirty="0">
              <a:solidFill>
                <a:srgbClr val="FF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4DF38D-74A8-4481-B1F8-98BFCD634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143000"/>
            <a:ext cx="7315200" cy="36903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BB9869A-0BAD-4597-A122-94C4062FC9A9}"/>
              </a:ext>
            </a:extLst>
          </p:cNvPr>
          <p:cNvSpPr txBox="1"/>
          <p:nvPr/>
        </p:nvSpPr>
        <p:spPr>
          <a:xfrm>
            <a:off x="3124200" y="5008018"/>
            <a:ext cx="259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g 9.1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675817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228600"/>
            <a:ext cx="7010400" cy="626195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6200" y="4800600"/>
            <a:ext cx="3276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a: shift the quotient register to the left </a:t>
            </a:r>
            <a:r>
              <a:rPr lang="en-US"/>
              <a:t>, setting </a:t>
            </a:r>
            <a:r>
              <a:rPr lang="en-US" dirty="0"/>
              <a:t>up the new rightmost bit to 1</a:t>
            </a:r>
          </a:p>
          <a:p>
            <a:endParaRPr lang="en-US" dirty="0"/>
          </a:p>
          <a:p>
            <a:r>
              <a:rPr lang="en-US" dirty="0"/>
              <a:t>it takes </a:t>
            </a:r>
            <a:r>
              <a:rPr lang="en-US" i="1" dirty="0"/>
              <a:t>n </a:t>
            </a:r>
            <a:r>
              <a:rPr lang="en-US" dirty="0"/>
              <a:t>+ 1 steps to get the proper quotient and remainder</a:t>
            </a:r>
          </a:p>
        </p:txBody>
      </p:sp>
    </p:spTree>
    <p:extLst>
      <p:ext uri="{BB962C8B-B14F-4D97-AF65-F5344CB8AC3E}">
        <p14:creationId xmlns:p14="http://schemas.microsoft.com/office/powerpoint/2010/main" val="15747207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ision  7/2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129" y="1143000"/>
            <a:ext cx="7818271" cy="4724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33400" y="6096000"/>
            <a:ext cx="548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hift left logical</a:t>
            </a:r>
            <a:r>
              <a:rPr lang="en-US" dirty="0"/>
              <a:t> (</a:t>
            </a:r>
            <a:r>
              <a:rPr lang="en-US" dirty="0" err="1"/>
              <a:t>sll</a:t>
            </a:r>
            <a:r>
              <a:rPr lang="en-US" dirty="0"/>
              <a:t>) </a:t>
            </a:r>
          </a:p>
        </p:txBody>
      </p:sp>
    </p:spTree>
    <p:extLst>
      <p:ext uri="{BB962C8B-B14F-4D97-AF65-F5344CB8AC3E}">
        <p14:creationId xmlns:p14="http://schemas.microsoft.com/office/powerpoint/2010/main" val="12113093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766733"/>
              </p:ext>
            </p:extLst>
          </p:nvPr>
        </p:nvGraphicFramePr>
        <p:xfrm>
          <a:off x="533400" y="477520"/>
          <a:ext cx="79248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0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7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90600" y="76200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9/4</a:t>
            </a:r>
          </a:p>
        </p:txBody>
      </p:sp>
    </p:spTree>
    <p:extLst>
      <p:ext uri="{BB962C8B-B14F-4D97-AF65-F5344CB8AC3E}">
        <p14:creationId xmlns:p14="http://schemas.microsoft.com/office/powerpoint/2010/main" val="11533557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595597"/>
              </p:ext>
            </p:extLst>
          </p:nvPr>
        </p:nvGraphicFramePr>
        <p:xfrm>
          <a:off x="533400" y="401320"/>
          <a:ext cx="81534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2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066800" y="76200"/>
            <a:ext cx="259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9/4</a:t>
            </a:r>
          </a:p>
        </p:txBody>
      </p:sp>
    </p:spTree>
    <p:extLst>
      <p:ext uri="{BB962C8B-B14F-4D97-AF65-F5344CB8AC3E}">
        <p14:creationId xmlns:p14="http://schemas.microsoft.com/office/powerpoint/2010/main" val="13923352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587435"/>
              </p:ext>
            </p:extLst>
          </p:nvPr>
        </p:nvGraphicFramePr>
        <p:xfrm>
          <a:off x="533400" y="152400"/>
          <a:ext cx="81534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2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216977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5464880"/>
              </p:ext>
            </p:extLst>
          </p:nvPr>
        </p:nvGraphicFramePr>
        <p:xfrm>
          <a:off x="533400" y="152400"/>
          <a:ext cx="81534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2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47299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436331"/>
              </p:ext>
            </p:extLst>
          </p:nvPr>
        </p:nvGraphicFramePr>
        <p:xfrm>
          <a:off x="533400" y="152400"/>
          <a:ext cx="81534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2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00 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1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07130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043276"/>
              </p:ext>
            </p:extLst>
          </p:nvPr>
        </p:nvGraphicFramePr>
        <p:xfrm>
          <a:off x="533400" y="152400"/>
          <a:ext cx="81534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2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00 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1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11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00 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186095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D7E44-7D4F-4942-A8C9-2DF6BF8399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429672"/>
              </p:ext>
            </p:extLst>
          </p:nvPr>
        </p:nvGraphicFramePr>
        <p:xfrm>
          <a:off x="533400" y="152400"/>
          <a:ext cx="8153400" cy="630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2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Quoti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vi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mai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itial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00 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10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1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10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11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1 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00 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1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  <a:r>
                        <a:rPr lang="en-US" baseline="0" dirty="0"/>
                        <a:t> 1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000 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a</a:t>
                      </a:r>
                      <a:r>
                        <a:rPr lang="en-US" baseline="0" dirty="0"/>
                        <a:t>: Rem&gt;0 =&gt; 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</a:t>
                      </a:r>
                      <a:r>
                        <a:rPr lang="en-US" baseline="0" dirty="0"/>
                        <a:t> 1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0000 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en-US" dirty="0"/>
                        <a:t>5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: Rem=</a:t>
                      </a:r>
                      <a:r>
                        <a:rPr lang="en-US" baseline="0" dirty="0"/>
                        <a:t> Rem-</a:t>
                      </a:r>
                      <a:r>
                        <a:rPr lang="en-US" baseline="0" dirty="0" err="1"/>
                        <a:t>Div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US" dirty="0"/>
                        <a:t>111 11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b</a:t>
                      </a:r>
                      <a:r>
                        <a:rPr lang="en-US" baseline="0" dirty="0"/>
                        <a:t>: Rem&lt;0 =&gt; +</a:t>
                      </a:r>
                      <a:r>
                        <a:rPr lang="en-US" baseline="0" dirty="0" err="1"/>
                        <a:t>Div</a:t>
                      </a:r>
                      <a:r>
                        <a:rPr lang="en-US" baseline="0" dirty="0"/>
                        <a:t>, </a:t>
                      </a:r>
                      <a:r>
                        <a:rPr lang="en-US" baseline="0" dirty="0" err="1"/>
                        <a:t>sll</a:t>
                      </a:r>
                      <a:r>
                        <a:rPr lang="en-US" baseline="0" dirty="0"/>
                        <a:t> Q, Q0=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50"/>
                          </a:solidFill>
                        </a:rPr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0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: Shift </a:t>
                      </a:r>
                      <a:r>
                        <a:rPr lang="en-US" dirty="0" err="1"/>
                        <a:t>Div</a:t>
                      </a:r>
                      <a:r>
                        <a:rPr lang="en-US" dirty="0"/>
                        <a:t> R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000 0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000 0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39899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400" y="-20935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igned Divis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09600" y="2209800"/>
            <a:ext cx="60567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FranklinGothic-Book"/>
              </a:rPr>
              <a:t>Dividend = Quotient </a:t>
            </a:r>
            <a:r>
              <a:rPr lang="en-US" sz="2400" dirty="0">
                <a:latin typeface="Symbol" panose="05050102010706020507" pitchFamily="18" charset="2"/>
                <a:sym typeface="Symbol" panose="05050102010706020507" pitchFamily="18" charset="2"/>
              </a:rPr>
              <a:t></a:t>
            </a:r>
            <a:r>
              <a:rPr lang="en-US" sz="2400" dirty="0">
                <a:latin typeface="Symbol" panose="05050102010706020507" pitchFamily="18" charset="2"/>
              </a:rPr>
              <a:t> </a:t>
            </a:r>
            <a:r>
              <a:rPr lang="en-US" sz="2400" dirty="0">
                <a:latin typeface="FranklinGothic-Book"/>
              </a:rPr>
              <a:t>Divisor + Remainder</a:t>
            </a:r>
            <a:endParaRPr 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2362200" y="3284984"/>
                <a:ext cx="116217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±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11÷ ±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2200" y="3284984"/>
                <a:ext cx="1162178" cy="276999"/>
              </a:xfrm>
              <a:prstGeom prst="rect">
                <a:avLst/>
              </a:prstGeom>
              <a:blipFill rotWithShape="0">
                <a:blip r:embed="rId2"/>
                <a:stretch>
                  <a:fillRect l="-5263" r="-4737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066800" y="3733800"/>
                <a:ext cx="6324600" cy="5250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𝑎𝑛𝑑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+1;                            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1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 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6800" y="3733800"/>
                <a:ext cx="6324600" cy="525016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ectangle 1"/>
          <p:cNvSpPr/>
          <p:nvPr/>
        </p:nvSpPr>
        <p:spPr>
          <a:xfrm>
            <a:off x="228600" y="1295400"/>
            <a:ext cx="8915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member the signs of the divisor and dividend and then negate the quotient if the signs disagree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400" y="2743200"/>
            <a:ext cx="7061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ook at the example of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2400" y="4648200"/>
            <a:ext cx="8534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The 1</a:t>
            </a:r>
            <a:r>
              <a:rPr lang="en-US" sz="2400" baseline="30000" dirty="0"/>
              <a:t>st</a:t>
            </a:r>
            <a:r>
              <a:rPr lang="en-US" sz="2400" dirty="0"/>
              <a:t> case is easy</a:t>
            </a:r>
          </a:p>
          <a:p>
            <a:r>
              <a:rPr lang="fr-FR" sz="2400" dirty="0"/>
              <a:t>+11 ÷ +5: Quotient = +2, </a:t>
            </a:r>
            <a:r>
              <a:rPr lang="fr-FR" sz="2400" dirty="0" err="1"/>
              <a:t>Remainder</a:t>
            </a:r>
            <a:r>
              <a:rPr lang="fr-FR" sz="2400" dirty="0"/>
              <a:t> = +1</a:t>
            </a:r>
          </a:p>
          <a:p>
            <a:endParaRPr lang="fr-FR" sz="2400" dirty="0"/>
          </a:p>
          <a:p>
            <a:r>
              <a:rPr lang="en-US" sz="2400" dirty="0"/>
              <a:t>Checking the results:</a:t>
            </a:r>
          </a:p>
          <a:p>
            <a:r>
              <a:rPr lang="en-US" sz="2400" dirty="0"/>
              <a:t>11 = 2 × 5 + (+1) = 10 + 1</a:t>
            </a:r>
          </a:p>
        </p:txBody>
      </p:sp>
    </p:spTree>
    <p:extLst>
      <p:ext uri="{BB962C8B-B14F-4D97-AF65-F5344CB8AC3E}">
        <p14:creationId xmlns:p14="http://schemas.microsoft.com/office/powerpoint/2010/main" val="2922400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02304-98A6-474A-A53A-5A5DAFB7D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er Representation</a:t>
            </a:r>
            <a:endParaRPr lang="en-IN" sz="2800" dirty="0">
              <a:solidFill>
                <a:srgbClr val="FF0000"/>
              </a:solidFill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A4D9D7B-175D-4CF2-ABE7-1A7C2A5F8675}"/>
              </a:ext>
            </a:extLst>
          </p:cNvPr>
          <p:cNvSpPr txBox="1">
            <a:spLocks noChangeArrowheads="1"/>
          </p:cNvSpPr>
          <p:nvPr/>
        </p:nvSpPr>
        <p:spPr>
          <a:xfrm>
            <a:off x="498474" y="1066800"/>
            <a:ext cx="7556313" cy="4297363"/>
          </a:xfrm>
          <a:prstGeom prst="rect">
            <a:avLst/>
          </a:prstGeom>
        </p:spPr>
        <p:txBody>
          <a:bodyPr/>
          <a:lstStyle>
            <a:lvl1pPr marL="0" indent="0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23" indent="-195905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281" indent="-267142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569" indent="-158666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704" indent="-132761" algn="l" defTabSz="9131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kern="0">
                <a:solidFill>
                  <a:srgbClr val="7030A0"/>
                </a:solidFill>
              </a:rPr>
              <a:t>In the binary number system arbitrary numbers can be represented with: </a:t>
            </a:r>
          </a:p>
          <a:p>
            <a:pPr lvl="1">
              <a:lnSpc>
                <a:spcPct val="150000"/>
              </a:lnSpc>
            </a:pPr>
            <a:r>
              <a:rPr lang="en-US" sz="1800" kern="0">
                <a:solidFill>
                  <a:srgbClr val="7030A0"/>
                </a:solidFill>
              </a:rPr>
              <a:t>The digits zero and one</a:t>
            </a:r>
          </a:p>
          <a:p>
            <a:pPr lvl="1">
              <a:lnSpc>
                <a:spcPct val="150000"/>
              </a:lnSpc>
            </a:pPr>
            <a:r>
              <a:rPr lang="en-US" sz="1800" kern="0">
                <a:solidFill>
                  <a:srgbClr val="7030A0"/>
                </a:solidFill>
              </a:rPr>
              <a:t>The minus sign (for negative numbers)</a:t>
            </a:r>
          </a:p>
          <a:p>
            <a:pPr lvl="1">
              <a:lnSpc>
                <a:spcPct val="150000"/>
              </a:lnSpc>
            </a:pPr>
            <a:r>
              <a:rPr lang="en-US" sz="1800" kern="0">
                <a:solidFill>
                  <a:srgbClr val="7030A0"/>
                </a:solidFill>
              </a:rPr>
              <a:t>The period, or </a:t>
            </a:r>
            <a:r>
              <a:rPr lang="en-US" sz="1800" b="1" i="1" kern="0">
                <a:solidFill>
                  <a:srgbClr val="7030A0"/>
                </a:solidFill>
              </a:rPr>
              <a:t>radix point </a:t>
            </a:r>
            <a:r>
              <a:rPr lang="en-US" sz="1800" kern="0">
                <a:solidFill>
                  <a:srgbClr val="7030A0"/>
                </a:solidFill>
              </a:rPr>
              <a:t>(for numbers with a fractional component)</a:t>
            </a:r>
          </a:p>
          <a:p>
            <a:pPr marL="228600" lvl="1">
              <a:lnSpc>
                <a:spcPct val="150000"/>
              </a:lnSpc>
              <a:spcBef>
                <a:spcPts val="2000"/>
              </a:spcBef>
              <a:buClr>
                <a:schemeClr val="accent1"/>
              </a:buClr>
            </a:pPr>
            <a:r>
              <a:rPr lang="en-US" sz="1800" kern="0">
                <a:solidFill>
                  <a:srgbClr val="7030A0"/>
                </a:solidFill>
              </a:rPr>
              <a:t>For purposes of computer storage and processing we do not have the benefit of special symbols for the minus sign and radix point</a:t>
            </a:r>
          </a:p>
          <a:p>
            <a:pPr marL="228600" lvl="1">
              <a:lnSpc>
                <a:spcPct val="150000"/>
              </a:lnSpc>
              <a:spcBef>
                <a:spcPts val="2000"/>
              </a:spcBef>
              <a:buClr>
                <a:schemeClr val="accent1"/>
              </a:buClr>
            </a:pPr>
            <a:r>
              <a:rPr lang="en-US" sz="1800" kern="0">
                <a:solidFill>
                  <a:srgbClr val="7030A0"/>
                </a:solidFill>
              </a:rPr>
              <a:t>Only binary digits (0,1) may be used to represent numbers</a:t>
            </a:r>
            <a:endParaRPr lang="en-US" sz="1800" kern="0" dirty="0">
              <a:solidFill>
                <a:srgbClr val="7030A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DC4AB0-4957-4D14-8445-74A4D20926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4154" y="4503738"/>
            <a:ext cx="1816100" cy="172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69126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28600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igned Divis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09600" y="1371600"/>
            <a:ext cx="60567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FranklinGothic-Book"/>
              </a:rPr>
              <a:t>Dividend = Quotient </a:t>
            </a:r>
            <a:r>
              <a:rPr lang="en-US" sz="2400" dirty="0">
                <a:latin typeface="Symbol" panose="05050102010706020507" pitchFamily="18" charset="2"/>
                <a:sym typeface="Symbol" panose="05050102010706020507" pitchFamily="18" charset="2"/>
              </a:rPr>
              <a:t></a:t>
            </a:r>
            <a:r>
              <a:rPr lang="en-US" sz="2400" dirty="0">
                <a:latin typeface="Symbol" panose="05050102010706020507" pitchFamily="18" charset="2"/>
              </a:rPr>
              <a:t> </a:t>
            </a:r>
            <a:r>
              <a:rPr lang="en-US" sz="2400" dirty="0">
                <a:latin typeface="FranklinGothic-Book"/>
              </a:rPr>
              <a:t>Divisor + Remainder</a:t>
            </a:r>
            <a:endParaRPr 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838200" y="1981200"/>
                <a:ext cx="116217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±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11÷ ±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981200"/>
                <a:ext cx="1162178" cy="276999"/>
              </a:xfrm>
              <a:prstGeom prst="rect">
                <a:avLst/>
              </a:prstGeom>
              <a:blipFill rotWithShape="0">
                <a:blip r:embed="rId2"/>
                <a:stretch>
                  <a:fillRect l="-5263" r="-4737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/>
          <p:cNvSpPr txBox="1"/>
          <p:nvPr/>
        </p:nvSpPr>
        <p:spPr>
          <a:xfrm>
            <a:off x="152400" y="2667000"/>
            <a:ext cx="8610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2</a:t>
            </a:r>
            <a:r>
              <a:rPr lang="en-US" sz="2400" baseline="30000" dirty="0"/>
              <a:t>nd</a:t>
            </a:r>
            <a:r>
              <a:rPr lang="en-US" sz="2400" dirty="0"/>
              <a:t> case If we change the sign of the dividend, the quotient must change as well:</a:t>
            </a:r>
          </a:p>
          <a:p>
            <a:r>
              <a:rPr lang="en-US" sz="2400" dirty="0"/>
              <a:t>–11 ÷ +5: Quotient = –2</a:t>
            </a:r>
          </a:p>
          <a:p>
            <a:endParaRPr lang="en-US" sz="2400" dirty="0"/>
          </a:p>
          <a:p>
            <a:r>
              <a:rPr lang="en-US" sz="2400" dirty="0"/>
              <a:t>Rewriting our basic formula to calculate the remainder:</a:t>
            </a:r>
          </a:p>
          <a:p>
            <a:r>
              <a:rPr lang="fr-FR" sz="2400" dirty="0" err="1"/>
              <a:t>Remainder</a:t>
            </a:r>
            <a:r>
              <a:rPr lang="fr-FR" sz="2400" dirty="0"/>
              <a:t> = (</a:t>
            </a:r>
            <a:r>
              <a:rPr lang="fr-FR" sz="2400" dirty="0" err="1"/>
              <a:t>Dividend</a:t>
            </a:r>
            <a:r>
              <a:rPr lang="fr-FR" sz="2400" dirty="0"/>
              <a:t> – Quotient × </a:t>
            </a:r>
            <a:r>
              <a:rPr lang="fr-FR" sz="2400" dirty="0" err="1"/>
              <a:t>Divisor</a:t>
            </a:r>
            <a:r>
              <a:rPr lang="fr-FR" sz="2400" dirty="0"/>
              <a:t>) = –11 – (–2 × +5) </a:t>
            </a:r>
          </a:p>
          <a:p>
            <a:r>
              <a:rPr lang="fr-FR" sz="2400" dirty="0"/>
              <a:t>                             = –11–(–10) = –1</a:t>
            </a:r>
          </a:p>
          <a:p>
            <a:r>
              <a:rPr lang="en-US" sz="2400" dirty="0"/>
              <a:t>So,</a:t>
            </a:r>
          </a:p>
          <a:p>
            <a:r>
              <a:rPr lang="fr-FR" sz="2400" dirty="0"/>
              <a:t>–11 ÷ +5: Quotient = –2, </a:t>
            </a:r>
            <a:r>
              <a:rPr lang="fr-FR" sz="2400" dirty="0" err="1"/>
              <a:t>Remainder</a:t>
            </a:r>
            <a:r>
              <a:rPr lang="fr-FR" sz="2400" dirty="0"/>
              <a:t> = –1</a:t>
            </a:r>
            <a:endParaRPr 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2438400" y="1857191"/>
                <a:ext cx="6324600" cy="5250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𝑎𝑛𝑑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+1;                            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1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 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8400" y="1857191"/>
                <a:ext cx="6324600" cy="525016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3755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28600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igned Divis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09600" y="1524000"/>
            <a:ext cx="60567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FranklinGothic-Book"/>
              </a:rPr>
              <a:t>Dividend = Quotient </a:t>
            </a:r>
            <a:r>
              <a:rPr lang="en-US" sz="2400" dirty="0">
                <a:latin typeface="Symbol" panose="05050102010706020507" pitchFamily="18" charset="2"/>
                <a:sym typeface="Symbol" panose="05050102010706020507" pitchFamily="18" charset="2"/>
              </a:rPr>
              <a:t></a:t>
            </a:r>
            <a:r>
              <a:rPr lang="en-US" sz="2400" dirty="0">
                <a:latin typeface="Symbol" panose="05050102010706020507" pitchFamily="18" charset="2"/>
              </a:rPr>
              <a:t> </a:t>
            </a:r>
            <a:r>
              <a:rPr lang="en-US" sz="2400" dirty="0">
                <a:latin typeface="FranklinGothic-Book"/>
              </a:rPr>
              <a:t>Divisor + Remainder</a:t>
            </a:r>
            <a:endParaRPr 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381000" y="2133600"/>
                <a:ext cx="116217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±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11÷ ±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2133600"/>
                <a:ext cx="1162178" cy="276999"/>
              </a:xfrm>
              <a:prstGeom prst="rect">
                <a:avLst/>
              </a:prstGeom>
              <a:blipFill rotWithShape="0">
                <a:blip r:embed="rId2"/>
                <a:stretch>
                  <a:fillRect l="-5263" r="-4737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2667000" y="2065784"/>
                <a:ext cx="6324600" cy="5250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𝑎𝑛𝑑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+1;                            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1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 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67000" y="2065784"/>
                <a:ext cx="6324600" cy="525016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ectangle 1"/>
          <p:cNvSpPr/>
          <p:nvPr/>
        </p:nvSpPr>
        <p:spPr>
          <a:xfrm>
            <a:off x="152400" y="2819400"/>
            <a:ext cx="85344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FranklinGothic-Book"/>
              </a:rPr>
              <a:t>Checking the results again:</a:t>
            </a:r>
          </a:p>
          <a:p>
            <a:r>
              <a:rPr lang="en-US" sz="2400" dirty="0">
                <a:latin typeface="FranklinGothic-Book"/>
              </a:rPr>
              <a:t>–11 = –2 </a:t>
            </a:r>
            <a:r>
              <a:rPr lang="en-US" sz="2400" dirty="0">
                <a:latin typeface="Symbol" panose="05050102010706020507" pitchFamily="18" charset="2"/>
              </a:rPr>
              <a:t>× </a:t>
            </a:r>
            <a:r>
              <a:rPr lang="en-US" sz="2400" dirty="0">
                <a:latin typeface="FranklinGothic-Book"/>
              </a:rPr>
              <a:t>5 + (–1) = – 10 – 1</a:t>
            </a:r>
          </a:p>
          <a:p>
            <a:endParaRPr lang="en-US" sz="2400" dirty="0">
              <a:latin typeface="FranklinGothic-Book"/>
            </a:endParaRPr>
          </a:p>
          <a:p>
            <a:r>
              <a:rPr lang="en-US" sz="2400" dirty="0">
                <a:latin typeface="FranklinGothic-Book"/>
              </a:rPr>
              <a:t>The same result is obtained if</a:t>
            </a:r>
          </a:p>
          <a:p>
            <a:r>
              <a:rPr lang="en-US" sz="2400" dirty="0">
                <a:latin typeface="FranklinGothic-Book"/>
              </a:rPr>
              <a:t>–11 = –3 </a:t>
            </a:r>
            <a:r>
              <a:rPr lang="en-US" sz="2400" dirty="0">
                <a:latin typeface="Symbol" panose="05050102010706020507" pitchFamily="18" charset="2"/>
              </a:rPr>
              <a:t>× </a:t>
            </a:r>
            <a:r>
              <a:rPr lang="en-US" sz="2400" dirty="0">
                <a:latin typeface="FranklinGothic-Book"/>
              </a:rPr>
              <a:t>5 + (4) = – 15 + 4</a:t>
            </a:r>
          </a:p>
          <a:p>
            <a:endParaRPr lang="en-US" sz="2400" dirty="0">
              <a:latin typeface="FranklinGothic-Book"/>
            </a:endParaRPr>
          </a:p>
          <a:p>
            <a:r>
              <a:rPr lang="en-US" sz="2400" dirty="0"/>
              <a:t>absolute value of the quotient would then change</a:t>
            </a:r>
            <a:endParaRPr lang="en-US" sz="2400" dirty="0">
              <a:latin typeface="FranklinGothic-Book"/>
            </a:endParaRPr>
          </a:p>
          <a:p>
            <a:r>
              <a:rPr lang="en-US" sz="2400" dirty="0">
                <a:latin typeface="FranklinGothic-Book"/>
              </a:rPr>
              <a:t> </a:t>
            </a:r>
          </a:p>
          <a:p>
            <a:r>
              <a:rPr lang="en-US" sz="2400" dirty="0">
                <a:latin typeface="FranklinGothic-Book"/>
              </a:rPr>
              <a:t>                  How to avoid this?</a:t>
            </a:r>
          </a:p>
          <a:p>
            <a:r>
              <a:rPr lang="en-US" sz="2400" dirty="0">
                <a:latin typeface="FranklinGothic-Book"/>
              </a:rPr>
              <a:t>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65599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228600"/>
            <a:ext cx="556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igned Divis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609600" y="762000"/>
            <a:ext cx="60567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FranklinGothic-Book"/>
              </a:rPr>
              <a:t>Dividend = Quotient </a:t>
            </a:r>
            <a:r>
              <a:rPr lang="en-US" sz="2400" dirty="0">
                <a:latin typeface="Symbol" panose="05050102010706020507" pitchFamily="18" charset="2"/>
                <a:sym typeface="Symbol" panose="05050102010706020507" pitchFamily="18" charset="2"/>
              </a:rPr>
              <a:t></a:t>
            </a:r>
            <a:r>
              <a:rPr lang="en-US" sz="2400" dirty="0">
                <a:latin typeface="Symbol" panose="05050102010706020507" pitchFamily="18" charset="2"/>
              </a:rPr>
              <a:t> </a:t>
            </a:r>
            <a:r>
              <a:rPr lang="en-US" sz="2400" dirty="0">
                <a:latin typeface="FranklinGothic-Book"/>
              </a:rPr>
              <a:t>Divisor + Remainder</a:t>
            </a:r>
            <a:endParaRPr lang="en-US" sz="2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6200" y="1371600"/>
                <a:ext cx="116217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±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11÷ ±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0" y="1371600"/>
                <a:ext cx="1162178" cy="276999"/>
              </a:xfrm>
              <a:prstGeom prst="rect">
                <a:avLst/>
              </a:prstGeom>
              <a:blipFill rotWithShape="0">
                <a:blip r:embed="rId2"/>
                <a:stretch>
                  <a:fillRect l="-5263" r="-4737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76200" y="3581400"/>
                <a:ext cx="3581400" cy="104092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1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 −2 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+1  </m:t>
                      </m:r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dirty="0"/>
                        <m:t>;                  </m:t>
                      </m:r>
                      <m:f>
                        <m:fPr>
                          <m:ctrlPr>
                            <a:rPr lang="en-US" i="1" dirty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 dirty="0">
                              <a:latin typeface="Cambria Math" panose="02040503050406030204" pitchFamily="18" charset="0"/>
                            </a:rPr>
                            <m:t>−11</m:t>
                          </m:r>
                        </m:num>
                        <m:den>
                          <m:r>
                            <a:rPr lang="en-US" i="1" dirty="0">
                              <a:latin typeface="Cambria Math" panose="02040503050406030204" pitchFamily="18" charset="0"/>
                            </a:rPr>
                            <m:t>−5</m:t>
                          </m:r>
                        </m:den>
                      </m:f>
                      <m:r>
                        <a:rPr lang="en-US" i="1" dirty="0">
                          <a:latin typeface="Cambria Math" panose="02040503050406030204" pitchFamily="18" charset="0"/>
                        </a:rPr>
                        <m:t>= +2 </m:t>
                      </m:r>
                      <m:r>
                        <a:rPr lang="en-US" i="1" dirty="0">
                          <a:latin typeface="Cambria Math" panose="02040503050406030204" pitchFamily="18" charset="0"/>
                        </a:rPr>
                        <m:t>𝑎𝑛𝑑</m:t>
                      </m:r>
                      <m:r>
                        <a:rPr lang="en-US" i="1" dirty="0">
                          <a:latin typeface="Cambria Math" panose="02040503050406030204" pitchFamily="18" charset="0"/>
                        </a:rPr>
                        <m:t> 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0" y="3581400"/>
                <a:ext cx="3581400" cy="1040926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2667000" y="1379984"/>
                <a:ext cx="6324600" cy="5250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𝑎𝑛𝑑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+1;                            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11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+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2  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67000" y="1379984"/>
                <a:ext cx="6324600" cy="525016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Rectangle 1"/>
          <p:cNvSpPr/>
          <p:nvPr/>
        </p:nvSpPr>
        <p:spPr>
          <a:xfrm>
            <a:off x="304800" y="2090171"/>
            <a:ext cx="8686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+mj-lt"/>
              </a:rPr>
              <a:t>This anomalous behavior is avoided  by following the rule that the dividend and remainder must have the same signs, no matter what the signs of the divisor and quotient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/>
              <p:cNvSpPr/>
              <p:nvPr/>
            </p:nvSpPr>
            <p:spPr>
              <a:xfrm>
                <a:off x="4191000" y="3726407"/>
                <a:ext cx="4572000" cy="64633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fr-FR" dirty="0">
                    <a:latin typeface="FranklinGothic-Book"/>
                  </a:rPr>
                  <a:t>+11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÷ </m:t>
                    </m:r>
                  </m:oMath>
                </a14:m>
                <a:r>
                  <a:rPr lang="fr-FR" dirty="0">
                    <a:latin typeface="Symbol" panose="05050102010706020507" pitchFamily="18" charset="2"/>
                  </a:rPr>
                  <a:t> </a:t>
                </a:r>
                <a:r>
                  <a:rPr lang="fr-FR" dirty="0">
                    <a:latin typeface="FranklinGothic-Book"/>
                  </a:rPr>
                  <a:t>–5: Quotient = –2, </a:t>
                </a:r>
                <a:r>
                  <a:rPr lang="fr-FR" dirty="0" err="1">
                    <a:latin typeface="FranklinGothic-Book"/>
                  </a:rPr>
                  <a:t>Remainder</a:t>
                </a:r>
                <a:r>
                  <a:rPr lang="fr-FR" dirty="0">
                    <a:latin typeface="FranklinGothic-Book"/>
                  </a:rPr>
                  <a:t> = +1</a:t>
                </a:r>
              </a:p>
              <a:p>
                <a:r>
                  <a:rPr lang="fr-FR" dirty="0">
                    <a:latin typeface="FranklinGothic-Book"/>
                  </a:rPr>
                  <a:t>–11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÷</m:t>
                    </m:r>
                  </m:oMath>
                </a14:m>
                <a:r>
                  <a:rPr lang="fr-FR" dirty="0">
                    <a:latin typeface="Symbol" panose="05050102010706020507" pitchFamily="18" charset="2"/>
                  </a:rPr>
                  <a:t>  </a:t>
                </a:r>
                <a:r>
                  <a:rPr lang="fr-FR" dirty="0">
                    <a:latin typeface="FranklinGothic-Book"/>
                  </a:rPr>
                  <a:t>–5: Quotient = +2, </a:t>
                </a:r>
                <a:r>
                  <a:rPr lang="fr-FR" dirty="0" err="1">
                    <a:latin typeface="FranklinGothic-Book"/>
                  </a:rPr>
                  <a:t>Remainder</a:t>
                </a:r>
                <a:r>
                  <a:rPr lang="fr-FR" dirty="0">
                    <a:latin typeface="FranklinGothic-Book"/>
                  </a:rPr>
                  <a:t> = –1</a:t>
                </a:r>
                <a:endParaRPr lang="en-US" dirty="0"/>
              </a:p>
            </p:txBody>
          </p:sp>
        </mc:Choice>
        <mc:Fallback xmlns="">
          <p:sp>
            <p:nvSpPr>
              <p:cNvPr id="9" name="Rectangle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91000" y="3726407"/>
                <a:ext cx="4572000" cy="646331"/>
              </a:xfrm>
              <a:prstGeom prst="rect">
                <a:avLst/>
              </a:prstGeom>
              <a:blipFill rotWithShape="0">
                <a:blip r:embed="rId5"/>
                <a:stretch>
                  <a:fillRect l="-1200" t="-3774" b="-132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tangle 9"/>
          <p:cNvSpPr/>
          <p:nvPr/>
        </p:nvSpPr>
        <p:spPr>
          <a:xfrm>
            <a:off x="152400" y="4971871"/>
            <a:ext cx="8534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+mj-lt"/>
              </a:rPr>
              <a:t>Thus the correctly signed division algorithm negates the quotient if the signs of the operands are opposite and makes the sign of the nonzero remainder match the dividend</a:t>
            </a:r>
          </a:p>
        </p:txBody>
      </p:sp>
    </p:spTree>
    <p:extLst>
      <p:ext uri="{BB962C8B-B14F-4D97-AF65-F5344CB8AC3E}">
        <p14:creationId xmlns:p14="http://schemas.microsoft.com/office/powerpoint/2010/main" val="3757418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/>
      <p:bldP spid="9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igned Nos 2’s complement represent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0" y="1676400"/>
            <a:ext cx="3352800" cy="79214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04800" y="2667000"/>
            <a:ext cx="472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Eg</a:t>
            </a:r>
            <a:r>
              <a:rPr lang="en-US" dirty="0"/>
              <a:t>   +6= 0110</a:t>
            </a:r>
          </a:p>
          <a:p>
            <a:r>
              <a:rPr lang="en-US" dirty="0"/>
              <a:t>        -6= 1010</a:t>
            </a:r>
          </a:p>
        </p:txBody>
      </p:sp>
    </p:spTree>
    <p:extLst>
      <p:ext uri="{BB962C8B-B14F-4D97-AF65-F5344CB8AC3E}">
        <p14:creationId xmlns:p14="http://schemas.microsoft.com/office/powerpoint/2010/main" val="1075564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146"/>
            <a:ext cx="3352800" cy="7921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1066800"/>
            <a:ext cx="8686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nsider any binary number in 2’s complement </a:t>
            </a:r>
          </a:p>
          <a:p>
            <a:endParaRPr lang="en-US" sz="2400" dirty="0"/>
          </a:p>
          <a:p>
            <a:r>
              <a:rPr lang="en-US" sz="2400" dirty="0"/>
              <a:t>101101      </a:t>
            </a:r>
          </a:p>
        </p:txBody>
      </p:sp>
    </p:spTree>
    <p:extLst>
      <p:ext uri="{BB962C8B-B14F-4D97-AF65-F5344CB8AC3E}">
        <p14:creationId xmlns:p14="http://schemas.microsoft.com/office/powerpoint/2010/main" val="35129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146"/>
            <a:ext cx="3352800" cy="7921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1066800"/>
            <a:ext cx="8686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nsider any binary number in 2’s complement </a:t>
            </a:r>
          </a:p>
          <a:p>
            <a:endParaRPr lang="en-US" sz="2400" dirty="0"/>
          </a:p>
          <a:p>
            <a:r>
              <a:rPr lang="en-US" sz="2400" dirty="0"/>
              <a:t>101101 </a:t>
            </a:r>
          </a:p>
          <a:p>
            <a:r>
              <a:rPr lang="en-US" sz="2400" dirty="0"/>
              <a:t> </a:t>
            </a:r>
          </a:p>
          <a:p>
            <a:r>
              <a:rPr lang="en-US" sz="2400" dirty="0"/>
              <a:t>      = -2</a:t>
            </a:r>
            <a:r>
              <a:rPr lang="en-US" sz="2400" baseline="30000" dirty="0"/>
              <a:t>6-1</a:t>
            </a:r>
            <a:r>
              <a:rPr lang="en-US" sz="2400" dirty="0"/>
              <a:t>.1  + 2</a:t>
            </a:r>
            <a:r>
              <a:rPr lang="en-US" sz="2400" baseline="30000" dirty="0"/>
              <a:t>4</a:t>
            </a:r>
            <a:r>
              <a:rPr lang="en-US" sz="2400" dirty="0"/>
              <a:t>.0 + 2</a:t>
            </a:r>
            <a:r>
              <a:rPr lang="en-US" sz="2400" baseline="30000" dirty="0"/>
              <a:t>3</a:t>
            </a:r>
            <a:r>
              <a:rPr lang="en-US" sz="2400" dirty="0"/>
              <a:t>.1 + 2</a:t>
            </a:r>
            <a:r>
              <a:rPr lang="en-US" sz="2400" baseline="30000" dirty="0"/>
              <a:t>2</a:t>
            </a:r>
            <a:r>
              <a:rPr lang="en-US" sz="2400" dirty="0"/>
              <a:t>.2 + 2</a:t>
            </a:r>
            <a:r>
              <a:rPr lang="en-US" sz="2400" baseline="30000" dirty="0"/>
              <a:t>1</a:t>
            </a:r>
            <a:r>
              <a:rPr lang="en-US" sz="2400" dirty="0"/>
              <a:t>.0+ 2</a:t>
            </a:r>
            <a:r>
              <a:rPr lang="en-US" sz="2400" baseline="30000" dirty="0"/>
              <a:t>0</a:t>
            </a:r>
            <a:r>
              <a:rPr lang="en-US" sz="2400" dirty="0"/>
              <a:t>.1 </a:t>
            </a:r>
          </a:p>
          <a:p>
            <a:r>
              <a:rPr lang="en-US" sz="2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08567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146"/>
            <a:ext cx="3352800" cy="7921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1066800"/>
            <a:ext cx="86868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nsider any binary number in 2’s complement </a:t>
            </a:r>
          </a:p>
          <a:p>
            <a:endParaRPr lang="en-US" sz="2400" dirty="0"/>
          </a:p>
          <a:p>
            <a:r>
              <a:rPr lang="en-US" sz="2400" dirty="0"/>
              <a:t>101101 </a:t>
            </a:r>
          </a:p>
          <a:p>
            <a:r>
              <a:rPr lang="en-US" sz="2400" dirty="0"/>
              <a:t> </a:t>
            </a:r>
          </a:p>
          <a:p>
            <a:r>
              <a:rPr lang="en-US" sz="2400" dirty="0"/>
              <a:t>      = -2</a:t>
            </a:r>
            <a:r>
              <a:rPr lang="en-US" sz="2400" baseline="30000" dirty="0"/>
              <a:t>6-1</a:t>
            </a:r>
            <a:r>
              <a:rPr lang="en-US" sz="2400" dirty="0"/>
              <a:t>.1  + 2</a:t>
            </a:r>
            <a:r>
              <a:rPr lang="en-US" sz="2400" baseline="30000" dirty="0"/>
              <a:t>4</a:t>
            </a:r>
            <a:r>
              <a:rPr lang="en-US" sz="2400" dirty="0"/>
              <a:t>.0 + 2</a:t>
            </a:r>
            <a:r>
              <a:rPr lang="en-US" sz="2400" baseline="30000" dirty="0"/>
              <a:t>3</a:t>
            </a:r>
            <a:r>
              <a:rPr lang="en-US" sz="2400" dirty="0"/>
              <a:t>.1 + 2</a:t>
            </a:r>
            <a:r>
              <a:rPr lang="en-US" sz="2400" baseline="30000" dirty="0"/>
              <a:t>2</a:t>
            </a:r>
            <a:r>
              <a:rPr lang="en-US" sz="2400" dirty="0"/>
              <a:t>.1 + 2</a:t>
            </a:r>
            <a:r>
              <a:rPr lang="en-US" sz="2400" baseline="30000" dirty="0"/>
              <a:t>1</a:t>
            </a:r>
            <a:r>
              <a:rPr lang="en-US" sz="2400" dirty="0"/>
              <a:t>.0+ 2</a:t>
            </a:r>
            <a:r>
              <a:rPr lang="en-US" sz="2400" baseline="30000" dirty="0"/>
              <a:t>0</a:t>
            </a:r>
            <a:r>
              <a:rPr lang="en-US" sz="2400" dirty="0"/>
              <a:t>.1 </a:t>
            </a:r>
          </a:p>
          <a:p>
            <a:r>
              <a:rPr lang="en-US" sz="2400" dirty="0"/>
              <a:t>      =-32 + 0 + 8 + 4 + 0 + 1= -19</a:t>
            </a:r>
          </a:p>
          <a:p>
            <a:r>
              <a:rPr lang="en-US" sz="2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59904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lank">
  <a:themeElements>
    <a:clrScheme name="Bit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CB017"/>
      </a:accent1>
      <a:accent2>
        <a:srgbClr val="76C2E5"/>
      </a:accent2>
      <a:accent3>
        <a:srgbClr val="FF0000"/>
      </a:accent3>
      <a:accent4>
        <a:srgbClr val="002960"/>
      </a:accent4>
      <a:accent5>
        <a:srgbClr val="FF6600"/>
      </a:accent5>
      <a:accent6>
        <a:srgbClr val="808080"/>
      </a:accent6>
      <a:hlink>
        <a:srgbClr val="FF0000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994405D97371449A1F1274BEB9B26D" ma:contentTypeVersion="7" ma:contentTypeDescription="Create a new document." ma:contentTypeScope="" ma:versionID="4d714d6f4e02b8797c18bae80915866a">
  <xsd:schema xmlns:xsd="http://www.w3.org/2001/XMLSchema" xmlns:xs="http://www.w3.org/2001/XMLSchema" xmlns:p="http://schemas.microsoft.com/office/2006/metadata/properties" xmlns:ns2="682cbc32-fee7-4912-b25f-d1e036e61d30" targetNamespace="http://schemas.microsoft.com/office/2006/metadata/properties" ma:root="true" ma:fieldsID="89d7d93295ea2ddc158f52b603a4dbe0" ns2:_="">
    <xsd:import namespace="682cbc32-fee7-4912-b25f-d1e036e61d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2cbc32-fee7-4912-b25f-d1e036e61d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27FC05-6194-412C-999C-5B11B989C701}"/>
</file>

<file path=customXml/itemProps2.xml><?xml version="1.0" encoding="utf-8"?>
<ds:datastoreItem xmlns:ds="http://schemas.openxmlformats.org/officeDocument/2006/customXml" ds:itemID="{E3AEF734-0F9F-4D6B-A5CC-4D8EDFECA7C1}"/>
</file>

<file path=customXml/itemProps3.xml><?xml version="1.0" encoding="utf-8"?>
<ds:datastoreItem xmlns:ds="http://schemas.openxmlformats.org/officeDocument/2006/customXml" ds:itemID="{ADA5E02B-7DDC-4D1B-B347-212BE3E44E2C}"/>
</file>

<file path=docProps/app.xml><?xml version="1.0" encoding="utf-8"?>
<Properties xmlns="http://schemas.openxmlformats.org/officeDocument/2006/extended-properties" xmlns:vt="http://schemas.openxmlformats.org/officeDocument/2006/docPropsVTypes">
  <TotalTime>5068145</TotalTime>
  <Words>3079</Words>
  <Application>Microsoft Office PowerPoint</Application>
  <PresentationFormat>On-screen Show (4:3)</PresentationFormat>
  <Paragraphs>1028</Paragraphs>
  <Slides>5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71" baseType="lpstr">
      <vt:lpstr>Arial</vt:lpstr>
      <vt:lpstr>Bookman Old Style</vt:lpstr>
      <vt:lpstr>Calibri</vt:lpstr>
      <vt:lpstr>Cambria Math</vt:lpstr>
      <vt:lpstr>FranklinGothic-Book</vt:lpstr>
      <vt:lpstr>MathematicalPi-One</vt:lpstr>
      <vt:lpstr>Minion-Regular</vt:lpstr>
      <vt:lpstr>Symbol</vt:lpstr>
      <vt:lpstr>Times New Roman</vt:lpstr>
      <vt:lpstr>Times-Roman</vt:lpstr>
      <vt:lpstr>TimesTen-Bold</vt:lpstr>
      <vt:lpstr>TimesTen-Roman</vt:lpstr>
      <vt:lpstr>Wingdings</vt:lpstr>
      <vt:lpstr>1_Office Theme</vt:lpstr>
      <vt:lpstr>Blank</vt:lpstr>
      <vt:lpstr>1_Blank</vt:lpstr>
      <vt:lpstr>4_Blank</vt:lpstr>
      <vt:lpstr>2_Blank</vt:lpstr>
      <vt:lpstr>think-cell Slide</vt:lpstr>
      <vt:lpstr>PowerPoint Presentation</vt:lpstr>
      <vt:lpstr>PowerPoint Presentation</vt:lpstr>
      <vt:lpstr>Arithmetic &amp; Logic Unit (ALU)</vt:lpstr>
      <vt:lpstr>ALU Inputs and outputs</vt:lpstr>
      <vt:lpstr>Integer Representation</vt:lpstr>
      <vt:lpstr>Signed Nos 2’s complement re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ddition and Subtraction</vt:lpstr>
      <vt:lpstr>Addition and Subtraction</vt:lpstr>
      <vt:lpstr>Block Diagram of Hardware for Addition and Subtraction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UNSIGNED INTEGERS</vt:lpstr>
      <vt:lpstr>Multiplication of SIGNED INTEGERS</vt:lpstr>
      <vt:lpstr>Booth Multiplier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Multiplication of -8 X 5</vt:lpstr>
      <vt:lpstr>PowerPoint Presentation</vt:lpstr>
      <vt:lpstr>PowerPoint Presentation</vt:lpstr>
      <vt:lpstr>Division  7/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B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ive Workspace at BITS Pilani</dc:title>
  <dc:creator>lenovo</dc:creator>
  <cp:lastModifiedBy>Parthasaradhi Nayani</cp:lastModifiedBy>
  <cp:revision>865</cp:revision>
  <dcterms:created xsi:type="dcterms:W3CDTF">2013-11-14T17:12:02Z</dcterms:created>
  <dcterms:modified xsi:type="dcterms:W3CDTF">2024-07-20T06:2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994405D97371449A1F1274BEB9B26D</vt:lpwstr>
  </property>
</Properties>
</file>